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s/slide2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1.xml" ContentType="application/vnd.openxmlformats-officedocument.presentationml.slideLayout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layout2.xml" ContentType="application/vnd.openxmlformats-officedocument.drawingml.diagramLayout+xml"/>
  <Override PartName="/ppt/theme/theme1.xml" ContentType="application/vnd.openxmlformats-officedocument.theme+xml"/>
  <Override PartName="/ppt/theme/theme2.xml" ContentType="application/vnd.openxmlformats-officedocument.them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5"/>
  </p:notesMasterIdLst>
  <p:sldIdLst>
    <p:sldId id="467" r:id="rId2"/>
    <p:sldId id="725" r:id="rId3"/>
    <p:sldId id="768" r:id="rId4"/>
    <p:sldId id="758" r:id="rId5"/>
    <p:sldId id="759" r:id="rId6"/>
    <p:sldId id="756" r:id="rId7"/>
    <p:sldId id="619" r:id="rId8"/>
    <p:sldId id="767" r:id="rId9"/>
    <p:sldId id="683" r:id="rId10"/>
    <p:sldId id="750" r:id="rId11"/>
    <p:sldId id="765" r:id="rId12"/>
    <p:sldId id="614" r:id="rId13"/>
    <p:sldId id="753" r:id="rId14"/>
  </p:sldIdLst>
  <p:sldSz cx="12241213" cy="6858000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FB27291-920B-46BB-9BC5-0C3733747F4D}">
          <p14:sldIdLst>
            <p14:sldId id="467"/>
            <p14:sldId id="725"/>
            <p14:sldId id="768"/>
            <p14:sldId id="758"/>
            <p14:sldId id="759"/>
            <p14:sldId id="756"/>
            <p14:sldId id="619"/>
            <p14:sldId id="767"/>
            <p14:sldId id="683"/>
            <p14:sldId id="750"/>
            <p14:sldId id="765"/>
            <p14:sldId id="614"/>
            <p14:sldId id="753"/>
          </p14:sldIdLst>
        </p14:section>
        <p14:section name="Abschnitt ohne Titel" id="{82E98C45-604E-4E69-B461-90E6EF4E5DA1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162">
          <p15:clr>
            <a:srgbClr val="A4A3A4"/>
          </p15:clr>
        </p15:guide>
        <p15:guide id="2" orient="horz" pos="1207">
          <p15:clr>
            <a:srgbClr val="A4A3A4"/>
          </p15:clr>
        </p15:guide>
        <p15:guide id="3" orient="horz" pos="482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1298">
          <p15:clr>
            <a:srgbClr val="A4A3A4"/>
          </p15:clr>
        </p15:guide>
        <p15:guide id="7" orient="horz" pos="2069">
          <p15:clr>
            <a:srgbClr val="A4A3A4"/>
          </p15:clr>
        </p15:guide>
        <p15:guide id="8" pos="7257">
          <p15:clr>
            <a:srgbClr val="A4A3A4"/>
          </p15:clr>
        </p15:guide>
        <p15:guide id="9" pos="3265">
          <p15:clr>
            <a:srgbClr val="A4A3A4"/>
          </p15:clr>
        </p15:guide>
        <p15:guide id="10" pos="2721">
          <p15:clr>
            <a:srgbClr val="A4A3A4"/>
          </p15:clr>
        </p15:guide>
        <p15:guide id="11" pos="453">
          <p15:clr>
            <a:srgbClr val="A4A3A4"/>
          </p15:clr>
        </p15:guide>
        <p15:guide id="12" pos="117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6D9E"/>
    <a:srgbClr val="0073B9"/>
    <a:srgbClr val="FCFC99"/>
    <a:srgbClr val="84F030"/>
    <a:srgbClr val="3DB868"/>
    <a:srgbClr val="0D1079"/>
    <a:srgbClr val="BED4EB"/>
    <a:srgbClr val="F3FAFD"/>
    <a:srgbClr val="B282F2"/>
    <a:srgbClr val="91B3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4A12425-1743-4CEA-86C3-5EB457856365}" styleName="MIO Styl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rgbClr val="FFFFFF"/>
              </a:solidFill>
            </a:ln>
          </a:left>
          <a:right>
            <a:ln w="12700" cmpd="sng">
              <a:solidFill>
                <a:srgbClr val="FFFFFF"/>
              </a:solidFill>
            </a:ln>
          </a:right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FFFFFF"/>
              </a:solidFill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 w="12700" cmpd="sng">
              <a:solidFill>
                <a:srgbClr val="FFFFFF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rgbClr val="BED2F0"/>
          </a:solidFill>
        </a:fill>
      </a:tcStyle>
    </a:band1H>
    <a:band2H>
      <a:tcStyle>
        <a:tcBdr/>
        <a:fill>
          <a:solidFill>
            <a:srgbClr val="D7E1F5"/>
          </a:solidFill>
        </a:fill>
      </a:tcStyle>
    </a:band2H>
    <a:firstRow>
      <a:tcTxStyle b="on"/>
      <a:tcStyle>
        <a:tcBdr>
          <a:bottom>
            <a:ln w="38100" cmpd="sng">
              <a:solidFill>
                <a:srgbClr val="FFFFFF"/>
              </a:solidFill>
            </a:ln>
          </a:bottom>
        </a:tcBdr>
        <a:fill>
          <a:solidFill>
            <a:srgbClr val="0073B9"/>
          </a:solidFill>
        </a:fill>
      </a:tcStyle>
    </a:firstRow>
  </a:tblStyle>
  <a:tblStyle styleId="{CBA9FB59-207E-4CF0-9C44-E63F8402828A}" styleName="MIO Styl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rgbClr val="FFFFFF"/>
              </a:solidFill>
            </a:ln>
          </a:left>
          <a:right>
            <a:ln w="12700" cmpd="sng">
              <a:solidFill>
                <a:srgbClr val="FFFFFF"/>
              </a:solidFill>
            </a:ln>
          </a:right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FFFFFF"/>
              </a:solidFill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 w="12700" cmpd="sng">
              <a:solidFill>
                <a:srgbClr val="FFFFFF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rgbClr val="BED2F0"/>
          </a:solidFill>
        </a:fill>
      </a:tcStyle>
    </a:band1H>
    <a:band2H>
      <a:tcStyle>
        <a:tcBdr/>
        <a:fill>
          <a:solidFill>
            <a:srgbClr val="D7E1F5"/>
          </a:solidFill>
        </a:fill>
      </a:tcStyle>
    </a:band2H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35" autoAdjust="0"/>
    <p:restoredTop sz="98046" autoAdjust="0"/>
  </p:normalViewPr>
  <p:slideViewPr>
    <p:cSldViewPr showGuides="1">
      <p:cViewPr varScale="1">
        <p:scale>
          <a:sx n="66" d="100"/>
          <a:sy n="66" d="100"/>
        </p:scale>
        <p:origin x="300" y="84"/>
      </p:cViewPr>
      <p:guideLst>
        <p:guide orient="horz" pos="1162"/>
        <p:guide orient="horz" pos="1207"/>
        <p:guide orient="horz" pos="482"/>
        <p:guide orient="horz" pos="1117"/>
        <p:guide orient="horz" pos="210"/>
        <p:guide orient="horz" pos="1298"/>
        <p:guide orient="horz" pos="2069"/>
        <p:guide pos="7257"/>
        <p:guide pos="3265"/>
        <p:guide pos="2721"/>
        <p:guide pos="453"/>
        <p:guide pos="11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1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customXml" Target="../customXml/item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AC95B77-40D6-4D60-A57F-C4126F7E0F09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C51206C-09F7-4DFE-AE00-3654D9990809}">
      <dgm:prSet phldrT="[Text]" custT="1"/>
      <dgm:spPr>
        <a:solidFill>
          <a:srgbClr val="216D9E"/>
        </a:solidFill>
      </dgm:spPr>
      <dgm:t>
        <a:bodyPr/>
        <a:lstStyle/>
        <a:p>
          <a:r>
            <a:rPr lang="de-DE" sz="1700" b="1" dirty="0" smtClean="0"/>
            <a:t>Central Info Hub</a:t>
          </a:r>
          <a:endParaRPr lang="de-DE" sz="1700" b="1" dirty="0"/>
        </a:p>
      </dgm:t>
    </dgm:pt>
    <dgm:pt modelId="{77985817-1578-4DDF-BC5D-868D9528E42A}" type="parTrans" cxnId="{A8FB85A8-53AB-4681-84AD-AC0879EE9B9B}">
      <dgm:prSet/>
      <dgm:spPr/>
      <dgm:t>
        <a:bodyPr/>
        <a:lstStyle/>
        <a:p>
          <a:endParaRPr lang="de-DE"/>
        </a:p>
      </dgm:t>
    </dgm:pt>
    <dgm:pt modelId="{08B15668-8241-4E4A-AAE9-1362D949F1A2}" type="sibTrans" cxnId="{A8FB85A8-53AB-4681-84AD-AC0879EE9B9B}">
      <dgm:prSet/>
      <dgm:spPr>
        <a:solidFill>
          <a:schemeClr val="bg1">
            <a:lumMod val="85000"/>
          </a:schemeClr>
        </a:solidFill>
      </dgm:spPr>
      <dgm:t>
        <a:bodyPr/>
        <a:lstStyle/>
        <a:p>
          <a:endParaRPr lang="de-DE"/>
        </a:p>
      </dgm:t>
    </dgm:pt>
    <dgm:pt modelId="{0DE21F89-6E66-41A2-9EFD-C28115169EA6}">
      <dgm:prSet phldrT="[Text]"/>
      <dgm:spPr/>
      <dgm:t>
        <a:bodyPr/>
        <a:lstStyle/>
        <a:p>
          <a:endParaRPr lang="de-DE" dirty="0"/>
        </a:p>
      </dgm:t>
    </dgm:pt>
    <dgm:pt modelId="{5696CC3F-E860-441F-BEA3-221434AC64AD}" type="parTrans" cxnId="{A5ED6AAF-043A-4448-B8E2-A8E44D37B104}">
      <dgm:prSet/>
      <dgm:spPr/>
      <dgm:t>
        <a:bodyPr/>
        <a:lstStyle/>
        <a:p>
          <a:endParaRPr lang="de-DE"/>
        </a:p>
      </dgm:t>
    </dgm:pt>
    <dgm:pt modelId="{E89C09DF-7D21-4085-9FF4-786C55E2239E}" type="sibTrans" cxnId="{A5ED6AAF-043A-4448-B8E2-A8E44D37B104}">
      <dgm:prSet/>
      <dgm:spPr/>
      <dgm:t>
        <a:bodyPr/>
        <a:lstStyle/>
        <a:p>
          <a:endParaRPr lang="de-DE"/>
        </a:p>
      </dgm:t>
    </dgm:pt>
    <dgm:pt modelId="{64ACAADC-9EEC-43C0-90F3-275465947783}">
      <dgm:prSet phldrT="[Text]" custT="1"/>
      <dgm:spPr>
        <a:solidFill>
          <a:srgbClr val="216D9E"/>
        </a:solidFill>
      </dgm:spPr>
      <dgm:t>
        <a:bodyPr/>
        <a:lstStyle/>
        <a:p>
          <a:r>
            <a:rPr lang="de-DE" sz="1700" b="1" dirty="0" smtClean="0"/>
            <a:t>Network</a:t>
          </a:r>
          <a:endParaRPr lang="de-DE" sz="1700" b="1" dirty="0"/>
        </a:p>
      </dgm:t>
    </dgm:pt>
    <dgm:pt modelId="{E99DF8F5-4ABC-41F0-954F-020D53586F67}" type="parTrans" cxnId="{9C46C216-A648-4D02-AA2D-87931F545536}">
      <dgm:prSet/>
      <dgm:spPr/>
      <dgm:t>
        <a:bodyPr/>
        <a:lstStyle/>
        <a:p>
          <a:endParaRPr lang="de-DE"/>
        </a:p>
      </dgm:t>
    </dgm:pt>
    <dgm:pt modelId="{43E9D0E7-8C70-4C90-8C63-63D77A6CEC18}" type="sibTrans" cxnId="{9C46C216-A648-4D02-AA2D-87931F545536}">
      <dgm:prSet/>
      <dgm:spPr>
        <a:solidFill>
          <a:schemeClr val="bg1">
            <a:lumMod val="85000"/>
          </a:schemeClr>
        </a:solidFill>
      </dgm:spPr>
      <dgm:t>
        <a:bodyPr/>
        <a:lstStyle/>
        <a:p>
          <a:endParaRPr lang="de-DE"/>
        </a:p>
      </dgm:t>
    </dgm:pt>
    <dgm:pt modelId="{DC5CA8C4-011C-4043-A87A-D31C98791D0E}">
      <dgm:prSet phldrT="[Text]"/>
      <dgm:spPr/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.</a:t>
          </a:r>
          <a:endParaRPr lang="de-DE" dirty="0">
            <a:solidFill>
              <a:schemeClr val="bg1"/>
            </a:solidFill>
          </a:endParaRPr>
        </a:p>
      </dgm:t>
    </dgm:pt>
    <dgm:pt modelId="{5F812917-B837-4EDD-9FF3-EF5739725911}" type="parTrans" cxnId="{0C38E614-B30D-4D99-B3C3-BF1C62D8CAB7}">
      <dgm:prSet/>
      <dgm:spPr/>
      <dgm:t>
        <a:bodyPr/>
        <a:lstStyle/>
        <a:p>
          <a:endParaRPr lang="de-DE"/>
        </a:p>
      </dgm:t>
    </dgm:pt>
    <dgm:pt modelId="{8C67D22D-D99A-471D-8A2E-ED96B894E113}" type="sibTrans" cxnId="{0C38E614-B30D-4D99-B3C3-BF1C62D8CAB7}">
      <dgm:prSet/>
      <dgm:spPr/>
      <dgm:t>
        <a:bodyPr/>
        <a:lstStyle/>
        <a:p>
          <a:endParaRPr lang="de-DE"/>
        </a:p>
      </dgm:t>
    </dgm:pt>
    <dgm:pt modelId="{09ADC3F5-7A24-465D-99CE-C68632872192}">
      <dgm:prSet phldrT="[Text]" custT="1"/>
      <dgm:spPr>
        <a:solidFill>
          <a:srgbClr val="216D9E"/>
        </a:solidFill>
      </dgm:spPr>
      <dgm:t>
        <a:bodyPr/>
        <a:lstStyle/>
        <a:p>
          <a:r>
            <a:rPr lang="de-DE" sz="1700" b="1" dirty="0" smtClean="0"/>
            <a:t>Publicity</a:t>
          </a:r>
          <a:endParaRPr lang="de-DE" sz="1700" b="1" dirty="0"/>
        </a:p>
      </dgm:t>
    </dgm:pt>
    <dgm:pt modelId="{33796A37-3C29-4AB7-AFFE-B36C600DAE67}" type="parTrans" cxnId="{EA22E2C4-B22D-4329-8D86-F9B1C28B1025}">
      <dgm:prSet/>
      <dgm:spPr/>
      <dgm:t>
        <a:bodyPr/>
        <a:lstStyle/>
        <a:p>
          <a:endParaRPr lang="de-DE"/>
        </a:p>
      </dgm:t>
    </dgm:pt>
    <dgm:pt modelId="{6F15515A-2AF3-43B9-8987-E61D7C2CEC73}" type="sibTrans" cxnId="{EA22E2C4-B22D-4329-8D86-F9B1C28B1025}">
      <dgm:prSet/>
      <dgm:spPr>
        <a:solidFill>
          <a:schemeClr val="bg1">
            <a:lumMod val="85000"/>
          </a:schemeClr>
        </a:solidFill>
      </dgm:spPr>
      <dgm:t>
        <a:bodyPr/>
        <a:lstStyle/>
        <a:p>
          <a:endParaRPr lang="de-DE"/>
        </a:p>
      </dgm:t>
    </dgm:pt>
    <dgm:pt modelId="{9DC52A40-C4F1-4E53-AADC-5A123C3045BE}">
      <dgm:prSet phldrT="[Text]"/>
      <dgm:spPr/>
      <dgm:t>
        <a:bodyPr/>
        <a:lstStyle/>
        <a:p>
          <a:r>
            <a:rPr lang="de-DE" dirty="0" smtClean="0">
              <a:solidFill>
                <a:schemeClr val="bg1"/>
              </a:solidFill>
            </a:rPr>
            <a:t>.</a:t>
          </a:r>
          <a:endParaRPr lang="de-DE" dirty="0">
            <a:solidFill>
              <a:schemeClr val="bg1"/>
            </a:solidFill>
          </a:endParaRPr>
        </a:p>
      </dgm:t>
    </dgm:pt>
    <dgm:pt modelId="{A68D400F-4638-4A23-8A92-E6783AFA8483}" type="parTrans" cxnId="{6A0520C9-D1EF-4E2C-BBB7-0990F3FDB323}">
      <dgm:prSet/>
      <dgm:spPr/>
      <dgm:t>
        <a:bodyPr/>
        <a:lstStyle/>
        <a:p>
          <a:endParaRPr lang="de-DE"/>
        </a:p>
      </dgm:t>
    </dgm:pt>
    <dgm:pt modelId="{E19A9F9A-5772-4BCC-BD9C-7CE1CC752B30}" type="sibTrans" cxnId="{6A0520C9-D1EF-4E2C-BBB7-0990F3FDB323}">
      <dgm:prSet/>
      <dgm:spPr/>
      <dgm:t>
        <a:bodyPr/>
        <a:lstStyle/>
        <a:p>
          <a:endParaRPr lang="de-DE"/>
        </a:p>
      </dgm:t>
    </dgm:pt>
    <dgm:pt modelId="{B229BF5E-E030-4BCB-8BFA-49983EA49361}" type="pres">
      <dgm:prSet presAssocID="{AAC95B77-40D6-4D60-A57F-C4126F7E0F09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C0563CEA-D8C6-409F-8450-79A2C75E962B}" type="pres">
      <dgm:prSet presAssocID="{7C51206C-09F7-4DFE-AE00-3654D9990809}" presName="composite" presStyleCnt="0"/>
      <dgm:spPr/>
    </dgm:pt>
    <dgm:pt modelId="{BC9779D2-320E-4E7C-8F61-DE6FEAEE9EEC}" type="pres">
      <dgm:prSet presAssocID="{7C51206C-09F7-4DFE-AE00-3654D9990809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4D64E1F-20BB-4EAB-9A5A-81BD35FB3FFD}" type="pres">
      <dgm:prSet presAssocID="{7C51206C-09F7-4DFE-AE00-3654D9990809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BB6EC5B-625A-4DE9-A408-054A648C4ADD}" type="pres">
      <dgm:prSet presAssocID="{7C51206C-09F7-4DFE-AE00-3654D9990809}" presName="BalanceSpacing" presStyleCnt="0"/>
      <dgm:spPr/>
    </dgm:pt>
    <dgm:pt modelId="{456B6990-5158-4A53-B763-CEABD7632429}" type="pres">
      <dgm:prSet presAssocID="{7C51206C-09F7-4DFE-AE00-3654D9990809}" presName="BalanceSpacing1" presStyleCnt="0"/>
      <dgm:spPr/>
    </dgm:pt>
    <dgm:pt modelId="{CF652067-4C60-492B-94BC-4A369AFAAFF7}" type="pres">
      <dgm:prSet presAssocID="{08B15668-8241-4E4A-AAE9-1362D949F1A2}" presName="Accent1Text" presStyleLbl="node1" presStyleIdx="1" presStyleCnt="6"/>
      <dgm:spPr/>
      <dgm:t>
        <a:bodyPr/>
        <a:lstStyle/>
        <a:p>
          <a:endParaRPr lang="en-US"/>
        </a:p>
      </dgm:t>
    </dgm:pt>
    <dgm:pt modelId="{00FCF6A9-433A-4CF6-A94B-08B1DE38E6B1}" type="pres">
      <dgm:prSet presAssocID="{08B15668-8241-4E4A-AAE9-1362D949F1A2}" presName="spaceBetweenRectangles" presStyleCnt="0"/>
      <dgm:spPr/>
    </dgm:pt>
    <dgm:pt modelId="{F87C01D9-280C-4F7A-ABB9-0B29774D7A32}" type="pres">
      <dgm:prSet presAssocID="{64ACAADC-9EEC-43C0-90F3-275465947783}" presName="composite" presStyleCnt="0"/>
      <dgm:spPr/>
    </dgm:pt>
    <dgm:pt modelId="{F8921A76-7E9A-4218-8849-09789205A05F}" type="pres">
      <dgm:prSet presAssocID="{64ACAADC-9EEC-43C0-90F3-275465947783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66D1D0D-1D20-48F1-BEFC-F4AB4BEEAA5F}" type="pres">
      <dgm:prSet presAssocID="{64ACAADC-9EEC-43C0-90F3-275465947783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786235B-199B-4FBD-94D5-B5DC6E26134B}" type="pres">
      <dgm:prSet presAssocID="{64ACAADC-9EEC-43C0-90F3-275465947783}" presName="BalanceSpacing" presStyleCnt="0"/>
      <dgm:spPr/>
    </dgm:pt>
    <dgm:pt modelId="{A3DDDA5A-FED2-4C64-999F-27A6202D84EA}" type="pres">
      <dgm:prSet presAssocID="{64ACAADC-9EEC-43C0-90F3-275465947783}" presName="BalanceSpacing1" presStyleCnt="0"/>
      <dgm:spPr/>
    </dgm:pt>
    <dgm:pt modelId="{A6860FCB-2AFB-4EBA-81B6-38F2D058CCD8}" type="pres">
      <dgm:prSet presAssocID="{43E9D0E7-8C70-4C90-8C63-63D77A6CEC18}" presName="Accent1Text" presStyleLbl="node1" presStyleIdx="3" presStyleCnt="6"/>
      <dgm:spPr/>
      <dgm:t>
        <a:bodyPr/>
        <a:lstStyle/>
        <a:p>
          <a:endParaRPr lang="en-US"/>
        </a:p>
      </dgm:t>
    </dgm:pt>
    <dgm:pt modelId="{F01F195A-3FE9-400D-A9EE-566026756A37}" type="pres">
      <dgm:prSet presAssocID="{43E9D0E7-8C70-4C90-8C63-63D77A6CEC18}" presName="spaceBetweenRectangles" presStyleCnt="0"/>
      <dgm:spPr/>
    </dgm:pt>
    <dgm:pt modelId="{DDD659EC-E390-4DC6-9823-9297BA817092}" type="pres">
      <dgm:prSet presAssocID="{09ADC3F5-7A24-465D-99CE-C68632872192}" presName="composite" presStyleCnt="0"/>
      <dgm:spPr/>
    </dgm:pt>
    <dgm:pt modelId="{E3B84613-7134-406F-A8EB-39F0F783D57C}" type="pres">
      <dgm:prSet presAssocID="{09ADC3F5-7A24-465D-99CE-C68632872192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A5D0197-F323-4782-9864-C7E77737CB10}" type="pres">
      <dgm:prSet presAssocID="{09ADC3F5-7A24-465D-99CE-C68632872192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E768DA1-4C38-41EF-91A9-752745AD9A0D}" type="pres">
      <dgm:prSet presAssocID="{09ADC3F5-7A24-465D-99CE-C68632872192}" presName="BalanceSpacing" presStyleCnt="0"/>
      <dgm:spPr/>
    </dgm:pt>
    <dgm:pt modelId="{F89B23F2-A2E4-40B1-B047-B53243961BAD}" type="pres">
      <dgm:prSet presAssocID="{09ADC3F5-7A24-465D-99CE-C68632872192}" presName="BalanceSpacing1" presStyleCnt="0"/>
      <dgm:spPr/>
    </dgm:pt>
    <dgm:pt modelId="{A9486E59-C559-4898-BD5D-CECE460D87B2}" type="pres">
      <dgm:prSet presAssocID="{6F15515A-2AF3-43B9-8987-E61D7C2CEC73}" presName="Accent1Text" presStyleLbl="node1" presStyleIdx="5" presStyleCnt="6"/>
      <dgm:spPr/>
      <dgm:t>
        <a:bodyPr/>
        <a:lstStyle/>
        <a:p>
          <a:endParaRPr lang="en-US"/>
        </a:p>
      </dgm:t>
    </dgm:pt>
  </dgm:ptLst>
  <dgm:cxnLst>
    <dgm:cxn modelId="{51419DBF-4231-41B0-9708-0BDB81A8868A}" type="presOf" srcId="{9DC52A40-C4F1-4E53-AADC-5A123C3045BE}" destId="{8A5D0197-F323-4782-9864-C7E77737CB10}" srcOrd="0" destOrd="0" presId="urn:microsoft.com/office/officeart/2008/layout/AlternatingHexagons"/>
    <dgm:cxn modelId="{9FAAA1BD-C5D3-4742-B487-F614CDFABAE5}" type="presOf" srcId="{AAC95B77-40D6-4D60-A57F-C4126F7E0F09}" destId="{B229BF5E-E030-4BCB-8BFA-49983EA49361}" srcOrd="0" destOrd="0" presId="urn:microsoft.com/office/officeart/2008/layout/AlternatingHexagons"/>
    <dgm:cxn modelId="{8CF4B383-EF61-4726-9059-5410473A8D62}" type="presOf" srcId="{43E9D0E7-8C70-4C90-8C63-63D77A6CEC18}" destId="{A6860FCB-2AFB-4EBA-81B6-38F2D058CCD8}" srcOrd="0" destOrd="0" presId="urn:microsoft.com/office/officeart/2008/layout/AlternatingHexagons"/>
    <dgm:cxn modelId="{B0F97716-898D-45D6-A7DF-63DC05B01F77}" type="presOf" srcId="{64ACAADC-9EEC-43C0-90F3-275465947783}" destId="{F8921A76-7E9A-4218-8849-09789205A05F}" srcOrd="0" destOrd="0" presId="urn:microsoft.com/office/officeart/2008/layout/AlternatingHexagons"/>
    <dgm:cxn modelId="{620D7C5E-D966-444A-8CE7-B62381F7738C}" type="presOf" srcId="{6F15515A-2AF3-43B9-8987-E61D7C2CEC73}" destId="{A9486E59-C559-4898-BD5D-CECE460D87B2}" srcOrd="0" destOrd="0" presId="urn:microsoft.com/office/officeart/2008/layout/AlternatingHexagons"/>
    <dgm:cxn modelId="{AE3495D1-4888-41AC-BCEE-E760E37F259D}" type="presOf" srcId="{0DE21F89-6E66-41A2-9EFD-C28115169EA6}" destId="{04D64E1F-20BB-4EAB-9A5A-81BD35FB3FFD}" srcOrd="0" destOrd="0" presId="urn:microsoft.com/office/officeart/2008/layout/AlternatingHexagons"/>
    <dgm:cxn modelId="{990BF105-C2CA-4418-A91F-A88B400710BF}" type="presOf" srcId="{DC5CA8C4-011C-4043-A87A-D31C98791D0E}" destId="{466D1D0D-1D20-48F1-BEFC-F4AB4BEEAA5F}" srcOrd="0" destOrd="0" presId="urn:microsoft.com/office/officeart/2008/layout/AlternatingHexagons"/>
    <dgm:cxn modelId="{A5ED6AAF-043A-4448-B8E2-A8E44D37B104}" srcId="{7C51206C-09F7-4DFE-AE00-3654D9990809}" destId="{0DE21F89-6E66-41A2-9EFD-C28115169EA6}" srcOrd="0" destOrd="0" parTransId="{5696CC3F-E860-441F-BEA3-221434AC64AD}" sibTransId="{E89C09DF-7D21-4085-9FF4-786C55E2239E}"/>
    <dgm:cxn modelId="{90241702-F481-40B1-912F-DF4554D151D1}" type="presOf" srcId="{08B15668-8241-4E4A-AAE9-1362D949F1A2}" destId="{CF652067-4C60-492B-94BC-4A369AFAAFF7}" srcOrd="0" destOrd="0" presId="urn:microsoft.com/office/officeart/2008/layout/AlternatingHexagons"/>
    <dgm:cxn modelId="{97C44219-FAB5-4656-9B6F-BDD05A4F26AF}" type="presOf" srcId="{09ADC3F5-7A24-465D-99CE-C68632872192}" destId="{E3B84613-7134-406F-A8EB-39F0F783D57C}" srcOrd="0" destOrd="0" presId="urn:microsoft.com/office/officeart/2008/layout/AlternatingHexagons"/>
    <dgm:cxn modelId="{EA22E2C4-B22D-4329-8D86-F9B1C28B1025}" srcId="{AAC95B77-40D6-4D60-A57F-C4126F7E0F09}" destId="{09ADC3F5-7A24-465D-99CE-C68632872192}" srcOrd="2" destOrd="0" parTransId="{33796A37-3C29-4AB7-AFFE-B36C600DAE67}" sibTransId="{6F15515A-2AF3-43B9-8987-E61D7C2CEC73}"/>
    <dgm:cxn modelId="{0C38E614-B30D-4D99-B3C3-BF1C62D8CAB7}" srcId="{64ACAADC-9EEC-43C0-90F3-275465947783}" destId="{DC5CA8C4-011C-4043-A87A-D31C98791D0E}" srcOrd="0" destOrd="0" parTransId="{5F812917-B837-4EDD-9FF3-EF5739725911}" sibTransId="{8C67D22D-D99A-471D-8A2E-ED96B894E113}"/>
    <dgm:cxn modelId="{A8FB85A8-53AB-4681-84AD-AC0879EE9B9B}" srcId="{AAC95B77-40D6-4D60-A57F-C4126F7E0F09}" destId="{7C51206C-09F7-4DFE-AE00-3654D9990809}" srcOrd="0" destOrd="0" parTransId="{77985817-1578-4DDF-BC5D-868D9528E42A}" sibTransId="{08B15668-8241-4E4A-AAE9-1362D949F1A2}"/>
    <dgm:cxn modelId="{D44F00A8-4308-4EB0-80F9-9C3E091BE119}" type="presOf" srcId="{7C51206C-09F7-4DFE-AE00-3654D9990809}" destId="{BC9779D2-320E-4E7C-8F61-DE6FEAEE9EEC}" srcOrd="0" destOrd="0" presId="urn:microsoft.com/office/officeart/2008/layout/AlternatingHexagons"/>
    <dgm:cxn modelId="{6A0520C9-D1EF-4E2C-BBB7-0990F3FDB323}" srcId="{09ADC3F5-7A24-465D-99CE-C68632872192}" destId="{9DC52A40-C4F1-4E53-AADC-5A123C3045BE}" srcOrd="0" destOrd="0" parTransId="{A68D400F-4638-4A23-8A92-E6783AFA8483}" sibTransId="{E19A9F9A-5772-4BCC-BD9C-7CE1CC752B30}"/>
    <dgm:cxn modelId="{9C46C216-A648-4D02-AA2D-87931F545536}" srcId="{AAC95B77-40D6-4D60-A57F-C4126F7E0F09}" destId="{64ACAADC-9EEC-43C0-90F3-275465947783}" srcOrd="1" destOrd="0" parTransId="{E99DF8F5-4ABC-41F0-954F-020D53586F67}" sibTransId="{43E9D0E7-8C70-4C90-8C63-63D77A6CEC18}"/>
    <dgm:cxn modelId="{DF071FE1-6648-413E-A327-5064B086BEA4}" type="presParOf" srcId="{B229BF5E-E030-4BCB-8BFA-49983EA49361}" destId="{C0563CEA-D8C6-409F-8450-79A2C75E962B}" srcOrd="0" destOrd="0" presId="urn:microsoft.com/office/officeart/2008/layout/AlternatingHexagons"/>
    <dgm:cxn modelId="{A7354AA1-B87A-4EF9-B49F-E9C0D2FC2751}" type="presParOf" srcId="{C0563CEA-D8C6-409F-8450-79A2C75E962B}" destId="{BC9779D2-320E-4E7C-8F61-DE6FEAEE9EEC}" srcOrd="0" destOrd="0" presId="urn:microsoft.com/office/officeart/2008/layout/AlternatingHexagons"/>
    <dgm:cxn modelId="{D5E9B150-22FF-4607-AF36-D2D2DB916A3E}" type="presParOf" srcId="{C0563CEA-D8C6-409F-8450-79A2C75E962B}" destId="{04D64E1F-20BB-4EAB-9A5A-81BD35FB3FFD}" srcOrd="1" destOrd="0" presId="urn:microsoft.com/office/officeart/2008/layout/AlternatingHexagons"/>
    <dgm:cxn modelId="{F837E0A8-6D3E-4B65-A95E-23981C198DC5}" type="presParOf" srcId="{C0563CEA-D8C6-409F-8450-79A2C75E962B}" destId="{8BB6EC5B-625A-4DE9-A408-054A648C4ADD}" srcOrd="2" destOrd="0" presId="urn:microsoft.com/office/officeart/2008/layout/AlternatingHexagons"/>
    <dgm:cxn modelId="{53BE4A42-3FE5-4094-A991-4ACBE308973F}" type="presParOf" srcId="{C0563CEA-D8C6-409F-8450-79A2C75E962B}" destId="{456B6990-5158-4A53-B763-CEABD7632429}" srcOrd="3" destOrd="0" presId="urn:microsoft.com/office/officeart/2008/layout/AlternatingHexagons"/>
    <dgm:cxn modelId="{9C44F68C-4CE8-437A-A997-48533C9739B9}" type="presParOf" srcId="{C0563CEA-D8C6-409F-8450-79A2C75E962B}" destId="{CF652067-4C60-492B-94BC-4A369AFAAFF7}" srcOrd="4" destOrd="0" presId="urn:microsoft.com/office/officeart/2008/layout/AlternatingHexagons"/>
    <dgm:cxn modelId="{760B2EB4-277B-4459-A37C-3F6D51DA6D9B}" type="presParOf" srcId="{B229BF5E-E030-4BCB-8BFA-49983EA49361}" destId="{00FCF6A9-433A-4CF6-A94B-08B1DE38E6B1}" srcOrd="1" destOrd="0" presId="urn:microsoft.com/office/officeart/2008/layout/AlternatingHexagons"/>
    <dgm:cxn modelId="{1F10442B-E9FD-40E4-91A5-BC0F76CBF865}" type="presParOf" srcId="{B229BF5E-E030-4BCB-8BFA-49983EA49361}" destId="{F87C01D9-280C-4F7A-ABB9-0B29774D7A32}" srcOrd="2" destOrd="0" presId="urn:microsoft.com/office/officeart/2008/layout/AlternatingHexagons"/>
    <dgm:cxn modelId="{8800D1D1-DDBB-4FB9-845D-63EC3F847C97}" type="presParOf" srcId="{F87C01D9-280C-4F7A-ABB9-0B29774D7A32}" destId="{F8921A76-7E9A-4218-8849-09789205A05F}" srcOrd="0" destOrd="0" presId="urn:microsoft.com/office/officeart/2008/layout/AlternatingHexagons"/>
    <dgm:cxn modelId="{A418E618-9556-4A19-88F3-8A0BF3F367B7}" type="presParOf" srcId="{F87C01D9-280C-4F7A-ABB9-0B29774D7A32}" destId="{466D1D0D-1D20-48F1-BEFC-F4AB4BEEAA5F}" srcOrd="1" destOrd="0" presId="urn:microsoft.com/office/officeart/2008/layout/AlternatingHexagons"/>
    <dgm:cxn modelId="{7A969DBE-2277-45E3-9DC6-50F1A542F88F}" type="presParOf" srcId="{F87C01D9-280C-4F7A-ABB9-0B29774D7A32}" destId="{5786235B-199B-4FBD-94D5-B5DC6E26134B}" srcOrd="2" destOrd="0" presId="urn:microsoft.com/office/officeart/2008/layout/AlternatingHexagons"/>
    <dgm:cxn modelId="{AFBDC9FD-75DF-4D4A-8B11-8ADCAE8E11D3}" type="presParOf" srcId="{F87C01D9-280C-4F7A-ABB9-0B29774D7A32}" destId="{A3DDDA5A-FED2-4C64-999F-27A6202D84EA}" srcOrd="3" destOrd="0" presId="urn:microsoft.com/office/officeart/2008/layout/AlternatingHexagons"/>
    <dgm:cxn modelId="{61D43343-0364-42EE-A7A5-49DA72F162C1}" type="presParOf" srcId="{F87C01D9-280C-4F7A-ABB9-0B29774D7A32}" destId="{A6860FCB-2AFB-4EBA-81B6-38F2D058CCD8}" srcOrd="4" destOrd="0" presId="urn:microsoft.com/office/officeart/2008/layout/AlternatingHexagons"/>
    <dgm:cxn modelId="{6C2AA641-F919-4618-A4A8-0E0E8ED8E9A2}" type="presParOf" srcId="{B229BF5E-E030-4BCB-8BFA-49983EA49361}" destId="{F01F195A-3FE9-400D-A9EE-566026756A37}" srcOrd="3" destOrd="0" presId="urn:microsoft.com/office/officeart/2008/layout/AlternatingHexagons"/>
    <dgm:cxn modelId="{E381FCA3-52DE-4C88-936A-31DF6E192E02}" type="presParOf" srcId="{B229BF5E-E030-4BCB-8BFA-49983EA49361}" destId="{DDD659EC-E390-4DC6-9823-9297BA817092}" srcOrd="4" destOrd="0" presId="urn:microsoft.com/office/officeart/2008/layout/AlternatingHexagons"/>
    <dgm:cxn modelId="{28857CBB-C4D6-478B-BCDE-E1ACB775C4E4}" type="presParOf" srcId="{DDD659EC-E390-4DC6-9823-9297BA817092}" destId="{E3B84613-7134-406F-A8EB-39F0F783D57C}" srcOrd="0" destOrd="0" presId="urn:microsoft.com/office/officeart/2008/layout/AlternatingHexagons"/>
    <dgm:cxn modelId="{A4361788-8C56-4B4C-9793-2664F8B6B7E8}" type="presParOf" srcId="{DDD659EC-E390-4DC6-9823-9297BA817092}" destId="{8A5D0197-F323-4782-9864-C7E77737CB10}" srcOrd="1" destOrd="0" presId="urn:microsoft.com/office/officeart/2008/layout/AlternatingHexagons"/>
    <dgm:cxn modelId="{BE069EC1-A280-4E3D-8436-F00CA92B3F06}" type="presParOf" srcId="{DDD659EC-E390-4DC6-9823-9297BA817092}" destId="{2E768DA1-4C38-41EF-91A9-752745AD9A0D}" srcOrd="2" destOrd="0" presId="urn:microsoft.com/office/officeart/2008/layout/AlternatingHexagons"/>
    <dgm:cxn modelId="{034E2DBD-B301-4F81-86EA-A69319FF6525}" type="presParOf" srcId="{DDD659EC-E390-4DC6-9823-9297BA817092}" destId="{F89B23F2-A2E4-40B1-B047-B53243961BAD}" srcOrd="3" destOrd="0" presId="urn:microsoft.com/office/officeart/2008/layout/AlternatingHexagons"/>
    <dgm:cxn modelId="{FF19B180-2896-4AA4-A79B-76D495149B8F}" type="presParOf" srcId="{DDD659EC-E390-4DC6-9823-9297BA817092}" destId="{A9486E59-C559-4898-BD5D-CECE460D87B2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7ED2AC8-E549-4B0E-A3F0-9D306A2D7FD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81420A8F-6B5E-49DA-863A-D18380EF28E7}">
      <dgm:prSet phldrT="[Text]" custT="1"/>
      <dgm:spPr>
        <a:solidFill>
          <a:srgbClr val="216D9E"/>
        </a:solidFill>
      </dgm:spPr>
      <dgm:t>
        <a:bodyPr/>
        <a:lstStyle/>
        <a:p>
          <a:r>
            <a:rPr lang="de-DE" sz="2000" dirty="0" smtClean="0"/>
            <a:t>Access to </a:t>
          </a:r>
          <a:r>
            <a:rPr lang="de-DE" sz="2000" dirty="0" err="1" smtClean="0"/>
            <a:t>data</a:t>
          </a:r>
          <a:r>
            <a:rPr lang="de-DE" sz="2000" dirty="0" smtClean="0"/>
            <a:t> </a:t>
          </a:r>
          <a:r>
            <a:rPr lang="de-DE" sz="2000" dirty="0" err="1" smtClean="0"/>
            <a:t>sets</a:t>
          </a:r>
          <a:r>
            <a:rPr lang="de-DE" sz="2000" dirty="0" smtClean="0"/>
            <a:t> in expert </a:t>
          </a:r>
          <a:r>
            <a:rPr lang="de-DE" sz="2000" dirty="0" err="1" smtClean="0"/>
            <a:t>version</a:t>
          </a:r>
          <a:r>
            <a:rPr lang="de-DE" sz="2000" dirty="0" smtClean="0"/>
            <a:t> </a:t>
          </a:r>
          <a:r>
            <a:rPr lang="de-DE" sz="2000" dirty="0" err="1" smtClean="0"/>
            <a:t>of</a:t>
          </a:r>
          <a:r>
            <a:rPr lang="de-DE" sz="2000" dirty="0" smtClean="0"/>
            <a:t> </a:t>
          </a:r>
          <a:r>
            <a:rPr lang="de-DE" sz="2000" dirty="0" err="1" smtClean="0"/>
            <a:t>platform</a:t>
          </a:r>
          <a:endParaRPr lang="de-DE" sz="2000" dirty="0"/>
        </a:p>
      </dgm:t>
    </dgm:pt>
    <dgm:pt modelId="{7AFAA7BB-5BF1-407A-ACB8-812CB6512209}" type="parTrans" cxnId="{EFD0BE67-EAB1-48E0-8E3B-316EE5E8D459}">
      <dgm:prSet/>
      <dgm:spPr/>
      <dgm:t>
        <a:bodyPr/>
        <a:lstStyle/>
        <a:p>
          <a:endParaRPr lang="de-DE" sz="2000"/>
        </a:p>
      </dgm:t>
    </dgm:pt>
    <dgm:pt modelId="{01FFCC21-E160-4930-97CC-62627CAE25E1}" type="sibTrans" cxnId="{EFD0BE67-EAB1-48E0-8E3B-316EE5E8D459}">
      <dgm:prSet/>
      <dgm:spPr/>
      <dgm:t>
        <a:bodyPr/>
        <a:lstStyle/>
        <a:p>
          <a:endParaRPr lang="de-DE" sz="2000"/>
        </a:p>
      </dgm:t>
    </dgm:pt>
    <dgm:pt modelId="{C0F9E0E4-7051-4068-BE5E-588244A277E4}">
      <dgm:prSet phldrT="[Text]" custT="1"/>
      <dgm:spPr>
        <a:solidFill>
          <a:srgbClr val="216D9E"/>
        </a:solidFill>
      </dgm:spPr>
      <dgm:t>
        <a:bodyPr/>
        <a:lstStyle/>
        <a:p>
          <a:r>
            <a:rPr lang="de-DE" sz="2000" dirty="0" err="1" smtClean="0"/>
            <a:t>Degree</a:t>
          </a:r>
          <a:r>
            <a:rPr lang="de-DE" sz="2000" dirty="0" smtClean="0"/>
            <a:t> </a:t>
          </a:r>
          <a:r>
            <a:rPr lang="de-DE" sz="2000" dirty="0" err="1" smtClean="0"/>
            <a:t>of</a:t>
          </a:r>
          <a:r>
            <a:rPr lang="de-DE" sz="2000" dirty="0" smtClean="0"/>
            <a:t> open </a:t>
          </a:r>
          <a:r>
            <a:rPr lang="de-DE" sz="2000" dirty="0" err="1" smtClean="0"/>
            <a:t>access</a:t>
          </a:r>
          <a:r>
            <a:rPr lang="de-DE" sz="2000" dirty="0" smtClean="0"/>
            <a:t> </a:t>
          </a:r>
          <a:r>
            <a:rPr lang="de-DE" sz="2000" dirty="0" err="1" smtClean="0"/>
            <a:t>is</a:t>
          </a:r>
          <a:r>
            <a:rPr lang="de-DE" sz="2000" dirty="0" smtClean="0"/>
            <a:t> </a:t>
          </a:r>
          <a:r>
            <a:rPr lang="de-DE" sz="2000" dirty="0" err="1" smtClean="0"/>
            <a:t>defined</a:t>
          </a:r>
          <a:r>
            <a:rPr lang="de-DE" sz="2000" dirty="0" smtClean="0"/>
            <a:t> in Memorandum </a:t>
          </a:r>
          <a:r>
            <a:rPr lang="de-DE" sz="2000" dirty="0" err="1" smtClean="0"/>
            <a:t>of</a:t>
          </a:r>
          <a:r>
            <a:rPr lang="de-DE" sz="2000" dirty="0" smtClean="0"/>
            <a:t> Understanding </a:t>
          </a:r>
          <a:r>
            <a:rPr lang="de-DE" sz="2000" dirty="0" err="1" smtClean="0"/>
            <a:t>by</a:t>
          </a:r>
          <a:r>
            <a:rPr lang="de-DE" sz="2000" dirty="0" smtClean="0"/>
            <a:t> </a:t>
          </a:r>
          <a:r>
            <a:rPr lang="de-DE" sz="2000" dirty="0" err="1" smtClean="0"/>
            <a:t>each</a:t>
          </a:r>
          <a:r>
            <a:rPr lang="de-DE" sz="2000" dirty="0" smtClean="0"/>
            <a:t> </a:t>
          </a:r>
          <a:r>
            <a:rPr lang="de-DE" sz="2000" dirty="0" err="1" smtClean="0"/>
            <a:t>data</a:t>
          </a:r>
          <a:r>
            <a:rPr lang="de-DE" sz="2000" dirty="0" smtClean="0"/>
            <a:t> </a:t>
          </a:r>
          <a:r>
            <a:rPr lang="de-DE" sz="2000" dirty="0" err="1" smtClean="0"/>
            <a:t>provider</a:t>
          </a:r>
          <a:endParaRPr lang="de-DE" sz="2000" dirty="0"/>
        </a:p>
      </dgm:t>
    </dgm:pt>
    <dgm:pt modelId="{32CD50EA-F0DD-4D61-A3B7-B19B1A31C187}" type="parTrans" cxnId="{5CCEDFCE-27BA-4DF2-A711-3201EBD41830}">
      <dgm:prSet/>
      <dgm:spPr/>
      <dgm:t>
        <a:bodyPr/>
        <a:lstStyle/>
        <a:p>
          <a:endParaRPr lang="de-DE" sz="2000"/>
        </a:p>
      </dgm:t>
    </dgm:pt>
    <dgm:pt modelId="{4C30BEB6-D95F-49F6-BEB9-700111527A66}" type="sibTrans" cxnId="{5CCEDFCE-27BA-4DF2-A711-3201EBD41830}">
      <dgm:prSet/>
      <dgm:spPr/>
      <dgm:t>
        <a:bodyPr/>
        <a:lstStyle/>
        <a:p>
          <a:endParaRPr lang="de-DE" sz="2000"/>
        </a:p>
      </dgm:t>
    </dgm:pt>
    <dgm:pt modelId="{7897984A-053A-4421-82EF-B1A15D91D0CA}">
      <dgm:prSet phldrT="[Text]" custT="1"/>
      <dgm:spPr>
        <a:solidFill>
          <a:srgbClr val="216D9E"/>
        </a:solidFill>
      </dgm:spPr>
      <dgm:t>
        <a:bodyPr/>
        <a:lstStyle/>
        <a:p>
          <a:r>
            <a:rPr lang="de-DE" sz="2000" dirty="0" smtClean="0"/>
            <a:t>National </a:t>
          </a:r>
          <a:r>
            <a:rPr lang="de-DE" sz="2000" dirty="0" err="1" smtClean="0"/>
            <a:t>regulation</a:t>
          </a:r>
          <a:r>
            <a:rPr lang="de-DE" sz="2000" dirty="0" smtClean="0"/>
            <a:t> </a:t>
          </a:r>
          <a:r>
            <a:rPr lang="de-DE" sz="2000" dirty="0" err="1" smtClean="0"/>
            <a:t>is</a:t>
          </a:r>
          <a:r>
            <a:rPr lang="de-DE" sz="2000" dirty="0" smtClean="0"/>
            <a:t> </a:t>
          </a:r>
          <a:r>
            <a:rPr lang="de-DE" sz="2000" dirty="0" err="1" smtClean="0"/>
            <a:t>respected</a:t>
          </a:r>
          <a:endParaRPr lang="de-DE" sz="2000" dirty="0"/>
        </a:p>
      </dgm:t>
    </dgm:pt>
    <dgm:pt modelId="{3DDE2B85-6958-4392-9D11-B115A9491DD3}" type="parTrans" cxnId="{C905287F-0290-42C8-ABDB-456206ACA21C}">
      <dgm:prSet/>
      <dgm:spPr/>
      <dgm:t>
        <a:bodyPr/>
        <a:lstStyle/>
        <a:p>
          <a:endParaRPr lang="de-DE" sz="2000"/>
        </a:p>
      </dgm:t>
    </dgm:pt>
    <dgm:pt modelId="{DA0634A7-6E79-4032-BFDE-30D342BE82AD}" type="sibTrans" cxnId="{C905287F-0290-42C8-ABDB-456206ACA21C}">
      <dgm:prSet/>
      <dgm:spPr/>
      <dgm:t>
        <a:bodyPr/>
        <a:lstStyle/>
        <a:p>
          <a:endParaRPr lang="de-DE" sz="2000"/>
        </a:p>
      </dgm:t>
    </dgm:pt>
    <dgm:pt modelId="{8347BBA9-ED6D-4B1C-AEB7-8BA92EE96D8C}">
      <dgm:prSet phldrT="[Text]" custT="1"/>
      <dgm:spPr>
        <a:solidFill>
          <a:srgbClr val="216D9E"/>
        </a:solidFill>
      </dgm:spPr>
      <dgm:t>
        <a:bodyPr/>
        <a:lstStyle/>
        <a:p>
          <a:r>
            <a:rPr lang="de-DE" sz="2000" dirty="0" err="1" smtClean="0"/>
            <a:t>Many</a:t>
          </a:r>
          <a:r>
            <a:rPr lang="de-DE" sz="2000" dirty="0" smtClean="0"/>
            <a:t> </a:t>
          </a:r>
          <a:r>
            <a:rPr lang="de-DE" sz="2000" dirty="0" err="1" smtClean="0"/>
            <a:t>data</a:t>
          </a:r>
          <a:r>
            <a:rPr lang="de-DE" sz="2000" dirty="0" smtClean="0"/>
            <a:t> </a:t>
          </a:r>
          <a:r>
            <a:rPr lang="de-DE" sz="2000" dirty="0" err="1" smtClean="0"/>
            <a:t>sets</a:t>
          </a:r>
          <a:r>
            <a:rPr lang="de-DE" sz="2000" dirty="0" smtClean="0"/>
            <a:t> </a:t>
          </a:r>
          <a:r>
            <a:rPr lang="de-DE" sz="2000" dirty="0" err="1" smtClean="0"/>
            <a:t>already</a:t>
          </a:r>
          <a:r>
            <a:rPr lang="de-DE" sz="2000" dirty="0" smtClean="0"/>
            <a:t> </a:t>
          </a:r>
          <a:r>
            <a:rPr lang="de-DE" sz="2000" dirty="0" err="1" smtClean="0"/>
            <a:t>accessible</a:t>
          </a:r>
          <a:r>
            <a:rPr lang="de-DE" sz="2000" dirty="0" smtClean="0"/>
            <a:t> – </a:t>
          </a:r>
        </a:p>
        <a:p>
          <a:r>
            <a:rPr lang="de-DE" sz="2000" dirty="0" err="1" smtClean="0"/>
            <a:t>platform</a:t>
          </a:r>
          <a:r>
            <a:rPr lang="de-DE" sz="2000" dirty="0" smtClean="0"/>
            <a:t> </a:t>
          </a:r>
          <a:r>
            <a:rPr lang="de-DE" sz="2000" dirty="0" err="1" smtClean="0"/>
            <a:t>as</a:t>
          </a:r>
          <a:r>
            <a:rPr lang="de-DE" sz="2000" dirty="0" smtClean="0"/>
            <a:t> „</a:t>
          </a:r>
          <a:r>
            <a:rPr lang="de-DE" sz="2000" dirty="0" err="1" smtClean="0"/>
            <a:t>directory</a:t>
          </a:r>
          <a:r>
            <a:rPr lang="de-DE" sz="2000" dirty="0" smtClean="0"/>
            <a:t>“ to </a:t>
          </a:r>
          <a:r>
            <a:rPr lang="de-DE" sz="2000" dirty="0" err="1" smtClean="0"/>
            <a:t>each</a:t>
          </a:r>
          <a:r>
            <a:rPr lang="de-DE" sz="2000" dirty="0" smtClean="0"/>
            <a:t> open </a:t>
          </a:r>
          <a:r>
            <a:rPr lang="de-DE" sz="2000" dirty="0" err="1" smtClean="0"/>
            <a:t>data</a:t>
          </a:r>
          <a:r>
            <a:rPr lang="de-DE" sz="2000" dirty="0" smtClean="0"/>
            <a:t> </a:t>
          </a:r>
          <a:r>
            <a:rPr lang="de-DE" sz="2000" dirty="0" err="1" smtClean="0"/>
            <a:t>set</a:t>
          </a:r>
          <a:endParaRPr lang="de-DE" sz="2000" dirty="0"/>
        </a:p>
      </dgm:t>
    </dgm:pt>
    <dgm:pt modelId="{746AB2CF-A8DC-4B14-AF86-D137A2236F2D}" type="parTrans" cxnId="{400BA48E-6F38-4CEE-A1B2-F9CE65E4D529}">
      <dgm:prSet/>
      <dgm:spPr/>
      <dgm:t>
        <a:bodyPr/>
        <a:lstStyle/>
        <a:p>
          <a:endParaRPr lang="de-DE" sz="2000"/>
        </a:p>
      </dgm:t>
    </dgm:pt>
    <dgm:pt modelId="{560FC4C4-C6A6-4F43-A0DD-A604828578AF}" type="sibTrans" cxnId="{400BA48E-6F38-4CEE-A1B2-F9CE65E4D529}">
      <dgm:prSet/>
      <dgm:spPr/>
      <dgm:t>
        <a:bodyPr/>
        <a:lstStyle/>
        <a:p>
          <a:endParaRPr lang="de-DE" sz="2000"/>
        </a:p>
      </dgm:t>
    </dgm:pt>
    <dgm:pt modelId="{69F5FFD9-48BA-4138-8E76-0D97C7A32334}" type="pres">
      <dgm:prSet presAssocID="{E7ED2AC8-E549-4B0E-A3F0-9D306A2D7FD4}" presName="linearFlow" presStyleCnt="0">
        <dgm:presLayoutVars>
          <dgm:dir/>
          <dgm:resizeHandles val="exact"/>
        </dgm:presLayoutVars>
      </dgm:prSet>
      <dgm:spPr/>
    </dgm:pt>
    <dgm:pt modelId="{5388C92D-E001-444B-98FA-7ADF1D99C410}" type="pres">
      <dgm:prSet presAssocID="{81420A8F-6B5E-49DA-863A-D18380EF28E7}" presName="composite" presStyleCnt="0"/>
      <dgm:spPr/>
    </dgm:pt>
    <dgm:pt modelId="{50BDC0E2-D309-4886-9312-1BFB81B21629}" type="pres">
      <dgm:prSet presAssocID="{81420A8F-6B5E-49DA-863A-D18380EF28E7}" presName="imgShp" presStyleLbl="fgImgPlace1" presStyleIdx="0" presStyleCnt="4"/>
      <dgm:spPr>
        <a:solidFill>
          <a:schemeClr val="tx2">
            <a:lumMod val="60000"/>
            <a:lumOff val="40000"/>
          </a:schemeClr>
        </a:solidFill>
      </dgm:spPr>
    </dgm:pt>
    <dgm:pt modelId="{23F21EB3-4E32-45A8-81C3-10FD0D14AACE}" type="pres">
      <dgm:prSet presAssocID="{81420A8F-6B5E-49DA-863A-D18380EF28E7}" presName="txShp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0F38F11-9CC1-4BA3-BD0D-0A13D410455D}" type="pres">
      <dgm:prSet presAssocID="{01FFCC21-E160-4930-97CC-62627CAE25E1}" presName="spacing" presStyleCnt="0"/>
      <dgm:spPr/>
    </dgm:pt>
    <dgm:pt modelId="{5F596976-9015-4745-AF91-7D085317D78E}" type="pres">
      <dgm:prSet presAssocID="{C0F9E0E4-7051-4068-BE5E-588244A277E4}" presName="composite" presStyleCnt="0"/>
      <dgm:spPr/>
    </dgm:pt>
    <dgm:pt modelId="{38C097F8-CB3D-4763-987F-B9272B71E624}" type="pres">
      <dgm:prSet presAssocID="{C0F9E0E4-7051-4068-BE5E-588244A277E4}" presName="imgShp" presStyleLbl="fgImgPlace1" presStyleIdx="1" presStyleCnt="4"/>
      <dgm:spPr>
        <a:solidFill>
          <a:schemeClr val="tx2">
            <a:lumMod val="60000"/>
            <a:lumOff val="40000"/>
          </a:schemeClr>
        </a:solidFill>
      </dgm:spPr>
    </dgm:pt>
    <dgm:pt modelId="{D6796627-0D03-4A00-8A86-E3EA14CE9642}" type="pres">
      <dgm:prSet presAssocID="{C0F9E0E4-7051-4068-BE5E-588244A277E4}" presName="txShp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A55E338-AC0D-4878-B80F-BFF3EA2FC1A0}" type="pres">
      <dgm:prSet presAssocID="{4C30BEB6-D95F-49F6-BEB9-700111527A66}" presName="spacing" presStyleCnt="0"/>
      <dgm:spPr/>
    </dgm:pt>
    <dgm:pt modelId="{2F1A04D5-D55B-4FB2-AC21-5A1E2D240037}" type="pres">
      <dgm:prSet presAssocID="{7897984A-053A-4421-82EF-B1A15D91D0CA}" presName="composite" presStyleCnt="0"/>
      <dgm:spPr/>
    </dgm:pt>
    <dgm:pt modelId="{2344078D-7103-499A-9509-AA4065A8D279}" type="pres">
      <dgm:prSet presAssocID="{7897984A-053A-4421-82EF-B1A15D91D0CA}" presName="imgShp" presStyleLbl="fgImgPlace1" presStyleIdx="2" presStyleCnt="4"/>
      <dgm:spPr>
        <a:solidFill>
          <a:schemeClr val="tx2">
            <a:lumMod val="60000"/>
            <a:lumOff val="40000"/>
          </a:schemeClr>
        </a:solidFill>
      </dgm:spPr>
    </dgm:pt>
    <dgm:pt modelId="{D8C9B780-F7A6-4532-BE0A-AE36CE20C8C5}" type="pres">
      <dgm:prSet presAssocID="{7897984A-053A-4421-82EF-B1A15D91D0CA}" presName="txShp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53DB555-2D90-41F8-9F0A-96B42C61881F}" type="pres">
      <dgm:prSet presAssocID="{DA0634A7-6E79-4032-BFDE-30D342BE82AD}" presName="spacing" presStyleCnt="0"/>
      <dgm:spPr/>
    </dgm:pt>
    <dgm:pt modelId="{C243741B-FB65-4344-A6B8-A05B84AE714E}" type="pres">
      <dgm:prSet presAssocID="{8347BBA9-ED6D-4B1C-AEB7-8BA92EE96D8C}" presName="composite" presStyleCnt="0"/>
      <dgm:spPr/>
    </dgm:pt>
    <dgm:pt modelId="{235EB775-6BEB-4887-A440-B4D07A0DEC99}" type="pres">
      <dgm:prSet presAssocID="{8347BBA9-ED6D-4B1C-AEB7-8BA92EE96D8C}" presName="imgShp" presStyleLbl="fgImgPlace1" presStyleIdx="3" presStyleCnt="4"/>
      <dgm:spPr>
        <a:solidFill>
          <a:schemeClr val="tx2">
            <a:lumMod val="60000"/>
            <a:lumOff val="40000"/>
          </a:schemeClr>
        </a:solidFill>
      </dgm:spPr>
    </dgm:pt>
    <dgm:pt modelId="{899A3008-0059-4087-926F-1385FF668181}" type="pres">
      <dgm:prSet presAssocID="{8347BBA9-ED6D-4B1C-AEB7-8BA92EE96D8C}" presName="txShp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97601FD-C67B-472A-BCCF-118767A91697}" type="presOf" srcId="{81420A8F-6B5E-49DA-863A-D18380EF28E7}" destId="{23F21EB3-4E32-45A8-81C3-10FD0D14AACE}" srcOrd="0" destOrd="0" presId="urn:microsoft.com/office/officeart/2005/8/layout/vList3"/>
    <dgm:cxn modelId="{C905287F-0290-42C8-ABDB-456206ACA21C}" srcId="{E7ED2AC8-E549-4B0E-A3F0-9D306A2D7FD4}" destId="{7897984A-053A-4421-82EF-B1A15D91D0CA}" srcOrd="2" destOrd="0" parTransId="{3DDE2B85-6958-4392-9D11-B115A9491DD3}" sibTransId="{DA0634A7-6E79-4032-BFDE-30D342BE82AD}"/>
    <dgm:cxn modelId="{CEDE521D-6349-4E42-BA05-080262237C37}" type="presOf" srcId="{7897984A-053A-4421-82EF-B1A15D91D0CA}" destId="{D8C9B780-F7A6-4532-BE0A-AE36CE20C8C5}" srcOrd="0" destOrd="0" presId="urn:microsoft.com/office/officeart/2005/8/layout/vList3"/>
    <dgm:cxn modelId="{EFD0BE67-EAB1-48E0-8E3B-316EE5E8D459}" srcId="{E7ED2AC8-E549-4B0E-A3F0-9D306A2D7FD4}" destId="{81420A8F-6B5E-49DA-863A-D18380EF28E7}" srcOrd="0" destOrd="0" parTransId="{7AFAA7BB-5BF1-407A-ACB8-812CB6512209}" sibTransId="{01FFCC21-E160-4930-97CC-62627CAE25E1}"/>
    <dgm:cxn modelId="{5CCEDFCE-27BA-4DF2-A711-3201EBD41830}" srcId="{E7ED2AC8-E549-4B0E-A3F0-9D306A2D7FD4}" destId="{C0F9E0E4-7051-4068-BE5E-588244A277E4}" srcOrd="1" destOrd="0" parTransId="{32CD50EA-F0DD-4D61-A3B7-B19B1A31C187}" sibTransId="{4C30BEB6-D95F-49F6-BEB9-700111527A66}"/>
    <dgm:cxn modelId="{400BA48E-6F38-4CEE-A1B2-F9CE65E4D529}" srcId="{E7ED2AC8-E549-4B0E-A3F0-9D306A2D7FD4}" destId="{8347BBA9-ED6D-4B1C-AEB7-8BA92EE96D8C}" srcOrd="3" destOrd="0" parTransId="{746AB2CF-A8DC-4B14-AF86-D137A2236F2D}" sibTransId="{560FC4C4-C6A6-4F43-A0DD-A604828578AF}"/>
    <dgm:cxn modelId="{254CD43F-8035-4F36-BBBD-327B705C2639}" type="presOf" srcId="{8347BBA9-ED6D-4B1C-AEB7-8BA92EE96D8C}" destId="{899A3008-0059-4087-926F-1385FF668181}" srcOrd="0" destOrd="0" presId="urn:microsoft.com/office/officeart/2005/8/layout/vList3"/>
    <dgm:cxn modelId="{EFD3809C-D4DA-4691-9F87-2E003C4EBA71}" type="presOf" srcId="{E7ED2AC8-E549-4B0E-A3F0-9D306A2D7FD4}" destId="{69F5FFD9-48BA-4138-8E76-0D97C7A32334}" srcOrd="0" destOrd="0" presId="urn:microsoft.com/office/officeart/2005/8/layout/vList3"/>
    <dgm:cxn modelId="{107AFDE4-0732-42EA-85A1-8CD076BFB8D6}" type="presOf" srcId="{C0F9E0E4-7051-4068-BE5E-588244A277E4}" destId="{D6796627-0D03-4A00-8A86-E3EA14CE9642}" srcOrd="0" destOrd="0" presId="urn:microsoft.com/office/officeart/2005/8/layout/vList3"/>
    <dgm:cxn modelId="{73B74C24-8573-42EA-8397-F6AF8C2C643F}" type="presParOf" srcId="{69F5FFD9-48BA-4138-8E76-0D97C7A32334}" destId="{5388C92D-E001-444B-98FA-7ADF1D99C410}" srcOrd="0" destOrd="0" presId="urn:microsoft.com/office/officeart/2005/8/layout/vList3"/>
    <dgm:cxn modelId="{EB963499-3E94-4559-8B22-DF52DA1C4B78}" type="presParOf" srcId="{5388C92D-E001-444B-98FA-7ADF1D99C410}" destId="{50BDC0E2-D309-4886-9312-1BFB81B21629}" srcOrd="0" destOrd="0" presId="urn:microsoft.com/office/officeart/2005/8/layout/vList3"/>
    <dgm:cxn modelId="{31454B7E-7EE8-4DF9-AB45-48E7088AA80A}" type="presParOf" srcId="{5388C92D-E001-444B-98FA-7ADF1D99C410}" destId="{23F21EB3-4E32-45A8-81C3-10FD0D14AACE}" srcOrd="1" destOrd="0" presId="urn:microsoft.com/office/officeart/2005/8/layout/vList3"/>
    <dgm:cxn modelId="{A61EF882-580B-471D-B571-52C7A2E5A344}" type="presParOf" srcId="{69F5FFD9-48BA-4138-8E76-0D97C7A32334}" destId="{E0F38F11-9CC1-4BA3-BD0D-0A13D410455D}" srcOrd="1" destOrd="0" presId="urn:microsoft.com/office/officeart/2005/8/layout/vList3"/>
    <dgm:cxn modelId="{84DD2672-3770-490C-9E7C-923A20B6292F}" type="presParOf" srcId="{69F5FFD9-48BA-4138-8E76-0D97C7A32334}" destId="{5F596976-9015-4745-AF91-7D085317D78E}" srcOrd="2" destOrd="0" presId="urn:microsoft.com/office/officeart/2005/8/layout/vList3"/>
    <dgm:cxn modelId="{D2347630-89F1-4FBF-AF06-E2020F87F0AC}" type="presParOf" srcId="{5F596976-9015-4745-AF91-7D085317D78E}" destId="{38C097F8-CB3D-4763-987F-B9272B71E624}" srcOrd="0" destOrd="0" presId="urn:microsoft.com/office/officeart/2005/8/layout/vList3"/>
    <dgm:cxn modelId="{8601C9B9-FE5E-4519-AF95-A661D27711CD}" type="presParOf" srcId="{5F596976-9015-4745-AF91-7D085317D78E}" destId="{D6796627-0D03-4A00-8A86-E3EA14CE9642}" srcOrd="1" destOrd="0" presId="urn:microsoft.com/office/officeart/2005/8/layout/vList3"/>
    <dgm:cxn modelId="{B64A7AAA-7BD2-4FAC-8EA2-19292D461D23}" type="presParOf" srcId="{69F5FFD9-48BA-4138-8E76-0D97C7A32334}" destId="{DA55E338-AC0D-4878-B80F-BFF3EA2FC1A0}" srcOrd="3" destOrd="0" presId="urn:microsoft.com/office/officeart/2005/8/layout/vList3"/>
    <dgm:cxn modelId="{F8A84A46-F0DA-49DC-9F51-35F87A6C3033}" type="presParOf" srcId="{69F5FFD9-48BA-4138-8E76-0D97C7A32334}" destId="{2F1A04D5-D55B-4FB2-AC21-5A1E2D240037}" srcOrd="4" destOrd="0" presId="urn:microsoft.com/office/officeart/2005/8/layout/vList3"/>
    <dgm:cxn modelId="{D766F9D9-B493-4986-B054-190FE98811F9}" type="presParOf" srcId="{2F1A04D5-D55B-4FB2-AC21-5A1E2D240037}" destId="{2344078D-7103-499A-9509-AA4065A8D279}" srcOrd="0" destOrd="0" presId="urn:microsoft.com/office/officeart/2005/8/layout/vList3"/>
    <dgm:cxn modelId="{0FF8574D-075A-48CB-91B7-EF678C7D1E4E}" type="presParOf" srcId="{2F1A04D5-D55B-4FB2-AC21-5A1E2D240037}" destId="{D8C9B780-F7A6-4532-BE0A-AE36CE20C8C5}" srcOrd="1" destOrd="0" presId="urn:microsoft.com/office/officeart/2005/8/layout/vList3"/>
    <dgm:cxn modelId="{CF790A78-5B6F-443C-9AC0-25F3D1EABDAE}" type="presParOf" srcId="{69F5FFD9-48BA-4138-8E76-0D97C7A32334}" destId="{F53DB555-2D90-41F8-9F0A-96B42C61881F}" srcOrd="5" destOrd="0" presId="urn:microsoft.com/office/officeart/2005/8/layout/vList3"/>
    <dgm:cxn modelId="{DCA53F5C-BE12-4895-B64D-E026E769E533}" type="presParOf" srcId="{69F5FFD9-48BA-4138-8E76-0D97C7A32334}" destId="{C243741B-FB65-4344-A6B8-A05B84AE714E}" srcOrd="6" destOrd="0" presId="urn:microsoft.com/office/officeart/2005/8/layout/vList3"/>
    <dgm:cxn modelId="{7F01D50D-32B1-4680-8A6B-7737809F0059}" type="presParOf" srcId="{C243741B-FB65-4344-A6B8-A05B84AE714E}" destId="{235EB775-6BEB-4887-A440-B4D07A0DEC99}" srcOrd="0" destOrd="0" presId="urn:microsoft.com/office/officeart/2005/8/layout/vList3"/>
    <dgm:cxn modelId="{69959F84-8A9E-4238-BCD7-27EC7C8CD8E9}" type="presParOf" srcId="{C243741B-FB65-4344-A6B8-A05B84AE714E}" destId="{899A3008-0059-4087-926F-1385FF668181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2F3EE4-B16D-429C-9F60-30AE5B6E3F05}" type="datetimeFigureOut">
              <a:rPr lang="en-US" smtClean="0"/>
              <a:t>04/05/2016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8" y="744538"/>
            <a:ext cx="66421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96D3C8-5B1A-46C6-B029-6259240FDA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292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96D3C8-5B1A-46C6-B029-6259240FDAAD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65482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QoS1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hat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dicted network performance / technical ability of existing infrastructure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here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e network of the Internet Access Provider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AP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and Network Termination Point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TP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, where end user’s premises / buildings are reach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Assessment / calculation by provid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ample: 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MART 2013/0054 project by IHS Consultants, collecting coverage data on a country, regional and rural level for nine broadband access technologi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1" kern="0" noProof="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 smtClean="0"/>
              <a:t>QoS2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at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ne qualif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here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tween reference points / interfaces of Internet Access Service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AS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 - from Internet Exchange Point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XP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 to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twork Termination Point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TP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, where end user’s premises / buildings are reached. IXP refers to the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ce where multiple Internet Service Providers interconnect their respective networks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asurement by providers or initiatives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nel measurements through probes </a:t>
            </a:r>
          </a:p>
          <a:p>
            <a:pPr marL="9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ample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mKnows, RIPE Atlas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owdsourcing application measurements (speed tests) with filter to </a:t>
            </a:r>
            <a:r>
              <a:rPr kumimoji="0" lang="en-GB" sz="1200" b="0" i="0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clude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nd user‘s environment </a:t>
            </a:r>
          </a:p>
          <a:p>
            <a:pPr marL="9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ample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itiative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tzqualität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by German NRA)</a:t>
            </a:r>
          </a:p>
          <a:p>
            <a:pPr marL="9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r>
              <a:rPr lang="de-DE" dirty="0" smtClean="0"/>
              <a:t>QoS3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hat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tual user’s experience when using Internet Access Service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AS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here: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QoS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measurement initiated by end user, triggered via the user terminal equipment (wired and wireless) connected behind Customer-Premises Equipment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PE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.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asurement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GB" sz="1200" b="0" i="0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cluding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ndividual end user’s activity and environ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asurements via online speed tes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amples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okla, Akamai, Opensignal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96D3C8-5B1A-46C6-B029-6259240FDAA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354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QoS1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hat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dicted network performance / technical ability of existing infrastructure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here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tween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e network of the Internet Access Provider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AP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and Network Termination Point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TP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, where end user’s premises / buildings are reach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Assessment / calculation by provid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ample: 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MART 2013/0054 project by IHS Consultants, collecting coverage data on a country, regional and rural level for nine broadband access technologi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1" kern="0" noProof="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 smtClean="0"/>
              <a:t>QoS2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at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ne qualif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here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tween reference points / interfaces of Internet Access Service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AS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 - from Internet Exchange Point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XP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 to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twork Termination Point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TP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, where end user’s premises / buildings are reached. IXP refers to the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ce where multiple Internet Service Providers interconnect their respective networks</a:t>
            </a: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asurement by providers or initiatives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nel measurements through probes </a:t>
            </a:r>
          </a:p>
          <a:p>
            <a:pPr marL="9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ample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mKnows, RIPE Atlas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owdsourcing application measurements (speed tests) with filter to </a:t>
            </a:r>
            <a:r>
              <a:rPr kumimoji="0" lang="en-GB" sz="1200" b="0" i="0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clude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nd user‘s environment </a:t>
            </a:r>
          </a:p>
          <a:p>
            <a:pPr marL="9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ample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itiative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tzqualität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by German NRA)</a:t>
            </a:r>
          </a:p>
          <a:p>
            <a:pPr marL="9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r>
              <a:rPr lang="de-DE" dirty="0" smtClean="0"/>
              <a:t>QoS3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hat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ctual user’s experience when using Internet Access Service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AS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here: </a:t>
            </a:r>
            <a:r>
              <a:rPr kumimoji="0" lang="en-GB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QoS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measurement initiated by end user, triggered via the user terminal equipment (wired and wireless) connected behind Customer-Premises Equipment (</a:t>
            </a: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PE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.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asurement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GB" sz="1200" b="0" i="0" u="sng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cluding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ndividual end user’s activity and environ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asurements via online speed tes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amples: </a:t>
            </a: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okla, Akamai, Opensignal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96D3C8-5B1A-46C6-B029-6259240FDAA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354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241213" cy="6092825"/>
          </a:xfrm>
          <a:solidFill>
            <a:schemeClr val="bg1"/>
          </a:solidFill>
        </p:spPr>
        <p:txBody>
          <a:bodyPr/>
          <a:lstStyle/>
          <a:p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625200"/>
            <a:ext cx="8072453" cy="7308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4356000"/>
            <a:ext cx="8072453" cy="3600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D58BE5-ED22-47CC-B3F4-2E36AD75CA1F}" type="datetime1">
              <a:rPr lang="de-DE"/>
              <a:pPr>
                <a:defRPr/>
              </a:pPr>
              <a:t>04.05.2016</a:t>
            </a:fld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CCD513-A99A-4064-983A-6F4D1974C28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A0D939-B52C-465C-A4BE-0CC0657C60BE}" type="datetime1">
              <a:rPr lang="de-DE"/>
              <a:pPr>
                <a:defRPr/>
              </a:pPr>
              <a:t>04.05.2016</a:t>
            </a:fld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1EE70E-7757-498F-B8DB-0E9E497BAA8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22571" y="1773238"/>
            <a:ext cx="10775917" cy="40322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2FA812-DE2F-43CB-A83B-8D080209DB89}" type="datetime1">
              <a:rPr lang="de-DE"/>
              <a:pPr>
                <a:defRPr/>
              </a:pPr>
              <a:t>04.05.2016</a:t>
            </a:fld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22571" y="1268413"/>
            <a:ext cx="10775917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 smtClean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5C8D57-A3C7-46E5-9F9B-4962A94CF532}" type="datetime1">
              <a:rPr lang="de-DE"/>
              <a:pPr>
                <a:defRPr/>
              </a:pPr>
              <a:t>04.05.2016</a:t>
            </a:fld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A65F15-0C3F-4F37-8A2B-5C3D70C430B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722571" y="2"/>
            <a:ext cx="10775917" cy="89385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Titel durch Klicken hinzufügen</a:t>
            </a:r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908050"/>
            <a:ext cx="12241213" cy="5184775"/>
          </a:xfrm>
        </p:spPr>
        <p:txBody>
          <a:bodyPr/>
          <a:lstStyle/>
          <a:p>
            <a:endParaRPr lang="de-DE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2FA812-DE2F-43CB-A83B-8D080209DB89}" type="datetime1">
              <a:rPr lang="de-DE"/>
              <a:pPr>
                <a:defRPr/>
              </a:pPr>
              <a:t>04.05.2016</a:t>
            </a:fld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22571" y="1268413"/>
            <a:ext cx="10775917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720006" y="1772816"/>
            <a:ext cx="10774800" cy="4032448"/>
          </a:xfrm>
        </p:spPr>
        <p:txBody>
          <a:bodyPr/>
          <a:lstStyle/>
          <a:p>
            <a:endParaRPr lang="de-DE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D6DC65-0AAC-4E60-BE36-DD0CF6B503BA}" type="datetime1">
              <a:rPr lang="de-DE" smtClean="0"/>
              <a:pPr>
                <a:defRPr/>
              </a:pPr>
              <a:t>04.05.2016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22572" y="1773238"/>
            <a:ext cx="5330028" cy="40322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190739" y="1773238"/>
            <a:ext cx="5327902" cy="40322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22571" y="1268413"/>
            <a:ext cx="10775917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 smtClean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106BC5-AFF1-4134-8995-1C2F3F985292}" type="datetime1">
              <a:rPr lang="de-DE"/>
              <a:pPr>
                <a:defRPr/>
              </a:pPr>
              <a:t>04.05.2016</a:t>
            </a:fld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5445894" y="1773239"/>
            <a:ext cx="6072747" cy="40322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722571" y="1268413"/>
            <a:ext cx="4337438" cy="2160000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722571" y="2"/>
            <a:ext cx="10775917" cy="89385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445894" y="1268413"/>
            <a:ext cx="6072747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 smtClean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D6DC65-0AAC-4E60-BE36-DD0CF6B503BA}" type="datetime1">
              <a:rPr lang="de-DE" smtClean="0"/>
              <a:pPr>
                <a:defRPr/>
              </a:pPr>
              <a:t>04.05.2016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14"/>
          </p:nvPr>
        </p:nvSpPr>
        <p:spPr>
          <a:xfrm>
            <a:off x="5445894" y="1773239"/>
            <a:ext cx="6072747" cy="403225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722571" y="1268413"/>
            <a:ext cx="4337438" cy="2160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445894" y="1268413"/>
            <a:ext cx="6072747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 smtClean="0"/>
          </a:p>
        </p:txBody>
      </p:sp>
      <p:sp>
        <p:nvSpPr>
          <p:cNvPr id="9" name="Bildplatzhalter 12"/>
          <p:cNvSpPr>
            <a:spLocks noGrp="1"/>
          </p:cNvSpPr>
          <p:nvPr>
            <p:ph type="pic" sz="quarter" idx="16"/>
          </p:nvPr>
        </p:nvSpPr>
        <p:spPr>
          <a:xfrm>
            <a:off x="722306" y="3645024"/>
            <a:ext cx="4337438" cy="2160000"/>
          </a:xfrm>
        </p:spPr>
        <p:txBody>
          <a:bodyPr/>
          <a:lstStyle/>
          <a:p>
            <a:endParaRPr lang="de-DE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85F4EF-670A-40A9-BE45-C1B9BD135EA8}" type="datetime1">
              <a:rPr lang="de-DE" smtClean="0"/>
              <a:t>04.05.2016</a:t>
            </a:fld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5444790" y="1773237"/>
            <a:ext cx="6073852" cy="4032251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722571" y="1268414"/>
            <a:ext cx="4337655" cy="4537075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722571" y="2"/>
            <a:ext cx="10775917" cy="89385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445894" y="1268413"/>
            <a:ext cx="6072747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 smtClean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D6DC65-0AAC-4E60-BE36-DD0CF6B503BA}" type="datetime1">
              <a:rPr lang="de-DE" smtClean="0"/>
              <a:pPr>
                <a:defRPr/>
              </a:pPr>
              <a:t>04.05.2016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22571" y="1268413"/>
            <a:ext cx="10775917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 smtClean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1147;MIO_UPDATE=True;MIO_VERSION=07.03.2014 16:26:23;MIO_DBID=0697DB97-ABE8-48BD-A7C2-0968716355E1;MIO_LASTDOWNLOADED=06.01.2016 16:47:10;MIO_OBJECTNAME=TÜV Rheinland 16:9 EN;MIO_LASTEDITORNAME=empower enterpri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8" descr="logo_bar_1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12000"/>
            <a:ext cx="12241213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8282" y="6228000"/>
            <a:ext cx="1782000" cy="456978"/>
          </a:xfrm>
          <a:prstGeom prst="rect">
            <a:avLst/>
          </a:prstGeom>
        </p:spPr>
      </p:pic>
      <p:pic>
        <p:nvPicPr>
          <p:cNvPr id="1026" name="Picture 15" descr="PP-Blauer Balken Oben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241213" cy="98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22571" y="2"/>
            <a:ext cx="10775917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Titelmasterformat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2571" y="1268414"/>
            <a:ext cx="10775917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Textmasterformate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224121" y="6345238"/>
            <a:ext cx="1020101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ED6DC65-0AAC-4E60-BE36-DD0CF6B503BA}" type="datetime1">
              <a:rPr lang="en-GB" smtClean="0"/>
              <a:pPr>
                <a:defRPr/>
              </a:pPr>
              <a:t>04/05/2016</a:t>
            </a:fld>
            <a:endParaRPr lang="en-GB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244222" y="6345238"/>
            <a:ext cx="4794475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 smtClean="0"/>
              <a:t>Corporate Presentation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6030" y="6345238"/>
            <a:ext cx="918091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8A0D73F-1F63-43D2-8015-5E130AB4E484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33" name="SHAPEAUTHOR"/>
          <p:cNvSpPr>
            <a:spLocks noChangeArrowheads="1"/>
          </p:cNvSpPr>
          <p:nvPr/>
        </p:nvSpPr>
        <p:spPr bwMode="auto">
          <a:xfrm>
            <a:off x="5508546" y="6324601"/>
            <a:ext cx="1938192" cy="404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en-GB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4" name="SHAPEVERSION"/>
          <p:cNvSpPr>
            <a:spLocks noChangeArrowheads="1"/>
          </p:cNvSpPr>
          <p:nvPr/>
        </p:nvSpPr>
        <p:spPr bwMode="auto">
          <a:xfrm>
            <a:off x="7650758" y="6324601"/>
            <a:ext cx="1428142" cy="404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en-GB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mpower - DO NOT DELETE!!!" hidden="1"/>
          <p:cNvSpPr/>
          <p:nvPr>
            <p:custDataLst>
              <p:tags r:id="rId13"/>
            </p:custDataLst>
          </p:nvPr>
        </p:nvSpPr>
        <p:spPr bwMode="auto">
          <a:xfrm>
            <a:off x="-1700168" y="-1270000"/>
            <a:ext cx="0" cy="0"/>
          </a:xfrm>
          <a:prstGeom prst="ellipse">
            <a:avLst/>
          </a:prstGeom>
          <a:noFill/>
          <a:ln w="3175" cap="flat" cmpd="sng" algn="ctr">
            <a:solidFill>
              <a:schemeClr val="tx1"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180975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6575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896938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249363" indent="-173038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604963" indent="-1762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0621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6pPr>
      <a:lvl7pPr marL="25193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7pPr>
      <a:lvl8pPr marL="29765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8pPr>
      <a:lvl9pPr marL="34337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roadbandmapping.eu/" TargetMode="Externa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1"/>
            <a:ext cx="12241212" cy="6050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0" y="4581128"/>
            <a:ext cx="11520488" cy="730800"/>
          </a:xfrm>
        </p:spPr>
        <p:txBody>
          <a:bodyPr/>
          <a:lstStyle/>
          <a:p>
            <a:r>
              <a:rPr lang="en-GB" dirty="0" smtClean="0"/>
              <a:t>Methodology of the European Commission’s project “</a:t>
            </a:r>
            <a:r>
              <a:rPr lang="en-US" dirty="0"/>
              <a:t>Mapping study (phase II): </a:t>
            </a:r>
            <a:r>
              <a:rPr lang="en-US" dirty="0" smtClean="0"/>
              <a:t>Mapping </a:t>
            </a:r>
            <a:r>
              <a:rPr lang="en-US" dirty="0"/>
              <a:t>of </a:t>
            </a:r>
            <a:r>
              <a:rPr lang="en-US" dirty="0" smtClean="0"/>
              <a:t>Broadband Services </a:t>
            </a:r>
            <a:r>
              <a:rPr lang="en-US" dirty="0"/>
              <a:t>in Europe - SMART </a:t>
            </a:r>
            <a:r>
              <a:rPr lang="en-US" dirty="0" smtClean="0"/>
              <a:t>2014/0016</a:t>
            </a:r>
            <a:r>
              <a:rPr lang="en-GB" dirty="0" smtClean="0"/>
              <a:t>”</a:t>
            </a:r>
            <a:endParaRPr lang="en-GB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0" y="5311928"/>
            <a:ext cx="8072453" cy="360000"/>
          </a:xfrm>
        </p:spPr>
        <p:txBody>
          <a:bodyPr anchor="b"/>
          <a:lstStyle/>
          <a:p>
            <a:r>
              <a:rPr lang="en-GB" dirty="0" smtClean="0">
                <a:solidFill>
                  <a:schemeClr val="lt1"/>
                </a:solidFill>
              </a:rPr>
              <a:t>Christiane Lehmann, ITU workshop, Haarlem, 10 May 2016</a:t>
            </a:r>
            <a:endParaRPr lang="en-GB" dirty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658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What</a:t>
            </a:r>
            <a:r>
              <a:rPr lang="de-DE" b="1" dirty="0" smtClean="0"/>
              <a:t> </a:t>
            </a:r>
            <a:r>
              <a:rPr lang="de-DE" b="1" dirty="0" err="1" smtClean="0"/>
              <a:t>data</a:t>
            </a:r>
            <a:r>
              <a:rPr lang="de-DE" b="1" dirty="0" smtClean="0"/>
              <a:t> will </a:t>
            </a:r>
            <a:r>
              <a:rPr lang="de-DE" b="1" dirty="0" err="1" smtClean="0"/>
              <a:t>be</a:t>
            </a:r>
            <a:r>
              <a:rPr lang="de-DE" b="1" dirty="0" smtClean="0"/>
              <a:t> </a:t>
            </a:r>
            <a:r>
              <a:rPr lang="de-DE" b="1" dirty="0" err="1" smtClean="0"/>
              <a:t>collected</a:t>
            </a:r>
            <a:r>
              <a:rPr lang="de-DE" b="1" dirty="0" smtClean="0"/>
              <a:t>?</a:t>
            </a:r>
            <a:endParaRPr lang="en-US" b="1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7939269"/>
              </p:ext>
            </p:extLst>
          </p:nvPr>
        </p:nvGraphicFramePr>
        <p:xfrm>
          <a:off x="10009038" y="1052736"/>
          <a:ext cx="1944216" cy="3627120"/>
        </p:xfrm>
        <a:graphic>
          <a:graphicData uri="http://schemas.openxmlformats.org/drawingml/2006/table">
            <a:tbl>
              <a:tblPr firstRow="1" bandRow="1">
                <a:tableStyleId>{CBA9FB59-207E-4CF0-9C44-E63F8402828A}</a:tableStyleId>
              </a:tblPr>
              <a:tblGrid>
                <a:gridCol w="1121663"/>
                <a:gridCol w="293237"/>
                <a:gridCol w="529316"/>
              </a:tblGrid>
              <a:tr h="258000">
                <a:tc>
                  <a:txBody>
                    <a:bodyPr/>
                    <a:lstStyle/>
                    <a:p>
                      <a:r>
                        <a:rPr lang="en-GB" sz="1100" b="1" dirty="0" smtClean="0"/>
                        <a:t>Speeds</a:t>
                      </a:r>
                      <a:endParaRPr lang="en-GB" sz="1100" b="1" dirty="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>
                    <a:lnT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58000"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1 Mbit/s</a:t>
                      </a:r>
                      <a:endParaRPr lang="en-GB" sz="1100" dirty="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%</a:t>
                      </a:r>
                      <a:endParaRPr lang="en-GB" sz="110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8000">
                <a:tc>
                  <a:txBody>
                    <a:bodyPr/>
                    <a:lstStyle/>
                    <a:p>
                      <a:r>
                        <a:rPr lang="de-DE" sz="1100" smtClean="0"/>
                        <a:t>2 Mbit/s</a:t>
                      </a:r>
                      <a:endParaRPr lang="en-GB" sz="110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%</a:t>
                      </a:r>
                      <a:endParaRPr lang="en-GB" sz="110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8000">
                <a:tc>
                  <a:txBody>
                    <a:bodyPr/>
                    <a:lstStyle/>
                    <a:p>
                      <a:r>
                        <a:rPr lang="de-DE" sz="1100" smtClean="0"/>
                        <a:t>6 Mbit/s</a:t>
                      </a:r>
                      <a:endParaRPr lang="en-GB" sz="110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%</a:t>
                      </a:r>
                      <a:endParaRPr lang="en-GB" sz="110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8000">
                <a:tc>
                  <a:txBody>
                    <a:bodyPr/>
                    <a:lstStyle/>
                    <a:p>
                      <a:r>
                        <a:rPr lang="de-DE" sz="1100" smtClean="0"/>
                        <a:t>16 Mbit/s</a:t>
                      </a:r>
                      <a:endParaRPr lang="en-GB" sz="110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%</a:t>
                      </a:r>
                      <a:endParaRPr lang="en-GB" sz="110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8000">
                <a:tc>
                  <a:txBody>
                    <a:bodyPr/>
                    <a:lstStyle/>
                    <a:p>
                      <a:r>
                        <a:rPr lang="de-DE" sz="1100" smtClean="0"/>
                        <a:t>25 Mbit/s</a:t>
                      </a:r>
                      <a:endParaRPr lang="en-GB" sz="110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%</a:t>
                      </a:r>
                      <a:endParaRPr lang="en-GB" sz="110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8000">
                <a:tc>
                  <a:txBody>
                    <a:bodyPr/>
                    <a:lstStyle/>
                    <a:p>
                      <a:r>
                        <a:rPr lang="de-DE" sz="1100" smtClean="0"/>
                        <a:t>30 Mbit/s</a:t>
                      </a:r>
                      <a:endParaRPr lang="en-GB" sz="110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%</a:t>
                      </a:r>
                      <a:endParaRPr lang="en-GB" sz="110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8000">
                <a:tc>
                  <a:txBody>
                    <a:bodyPr/>
                    <a:lstStyle/>
                    <a:p>
                      <a:r>
                        <a:rPr lang="de-DE" sz="1100" smtClean="0"/>
                        <a:t>50 Mbit/s</a:t>
                      </a:r>
                      <a:endParaRPr lang="en-GB" sz="110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%</a:t>
                      </a:r>
                      <a:endParaRPr lang="en-GB" sz="1100" dirty="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8000">
                <a:tc>
                  <a:txBody>
                    <a:bodyPr/>
                    <a:lstStyle/>
                    <a:p>
                      <a:r>
                        <a:rPr lang="de-DE" sz="1100" smtClean="0"/>
                        <a:t>100 Mbit/s</a:t>
                      </a:r>
                      <a:endParaRPr lang="en-GB" sz="110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%</a:t>
                      </a:r>
                      <a:endParaRPr lang="en-GB" sz="110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8000">
                <a:tc>
                  <a:txBody>
                    <a:bodyPr/>
                    <a:lstStyle/>
                    <a:p>
                      <a:r>
                        <a:rPr lang="de-DE" sz="1100" smtClean="0"/>
                        <a:t>1 Gbit/s</a:t>
                      </a:r>
                      <a:endParaRPr lang="en-GB" sz="110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%</a:t>
                      </a:r>
                      <a:endParaRPr lang="en-GB" sz="1100" dirty="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8000">
                <a:tc>
                  <a:txBody>
                    <a:bodyPr/>
                    <a:lstStyle/>
                    <a:p>
                      <a:r>
                        <a:rPr lang="de-DE" sz="1100" b="1" dirty="0" err="1" smtClean="0"/>
                        <a:t>Latency</a:t>
                      </a:r>
                      <a:endParaRPr lang="en-GB" sz="1100" b="1" dirty="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ms</a:t>
                      </a:r>
                      <a:endParaRPr lang="en-GB" sz="110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8000">
                <a:tc>
                  <a:txBody>
                    <a:bodyPr/>
                    <a:lstStyle/>
                    <a:p>
                      <a:r>
                        <a:rPr lang="de-DE" sz="1100" b="1" dirty="0" err="1" smtClean="0"/>
                        <a:t>Jitter</a:t>
                      </a:r>
                      <a:endParaRPr lang="en-GB" sz="1100" b="1" dirty="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 err="1" smtClean="0"/>
                        <a:t>ms</a:t>
                      </a:r>
                      <a:endParaRPr lang="en-GB" sz="1100" dirty="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8000">
                <a:tc>
                  <a:txBody>
                    <a:bodyPr/>
                    <a:lstStyle/>
                    <a:p>
                      <a:r>
                        <a:rPr lang="de-DE" sz="1100" b="1" dirty="0" smtClean="0"/>
                        <a:t>Packet </a:t>
                      </a:r>
                      <a:r>
                        <a:rPr lang="de-DE" sz="1100" b="1" dirty="0" err="1" smtClean="0"/>
                        <a:t>loss</a:t>
                      </a:r>
                      <a:endParaRPr lang="en-GB" sz="1100" b="1" dirty="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GB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%</a:t>
                      </a:r>
                      <a:endParaRPr lang="en-GB" sz="110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8000">
                <a:tc>
                  <a:txBody>
                    <a:bodyPr/>
                    <a:lstStyle/>
                    <a:p>
                      <a:r>
                        <a:rPr lang="de-DE" sz="1100" b="1" dirty="0" smtClean="0"/>
                        <a:t>Data </a:t>
                      </a:r>
                      <a:r>
                        <a:rPr lang="de-DE" sz="1100" b="1" dirty="0" err="1" smtClean="0"/>
                        <a:t>usage</a:t>
                      </a:r>
                      <a:endParaRPr lang="en-GB" sz="1100" b="1" dirty="0"/>
                    </a:p>
                  </a:txBody>
                  <a:tcPr>
                    <a:lnL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smtClean="0"/>
                        <a:t>X</a:t>
                      </a:r>
                      <a:endParaRPr lang="en-GB" sz="1100"/>
                    </a:p>
                  </a:txBody>
                  <a:tcPr>
                    <a:lnB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TB/d</a:t>
                      </a:r>
                      <a:endParaRPr lang="en-GB" sz="1100" dirty="0"/>
                    </a:p>
                  </a:txBody>
                  <a:tcPr>
                    <a:lnR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rgbClr val="0070B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" name="Rechteck 8"/>
          <p:cNvSpPr/>
          <p:nvPr/>
        </p:nvSpPr>
        <p:spPr bwMode="auto">
          <a:xfrm>
            <a:off x="6048822" y="5229200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chemeClr val="dk1"/>
                </a:solidFill>
                <a:latin typeface="Arial"/>
              </a:rPr>
              <a:t>Day non </a:t>
            </a:r>
            <a:r>
              <a:rPr lang="de-DE" sz="1200" b="1" kern="0" dirty="0" err="1" smtClean="0">
                <a:solidFill>
                  <a:schemeClr val="dk1"/>
                </a:solidFill>
                <a:latin typeface="Arial"/>
              </a:rPr>
              <a:t>peak</a:t>
            </a:r>
            <a:endParaRPr lang="en-GB" sz="1200" b="1" kern="0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6048822" y="4581128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chemeClr val="dk1"/>
                </a:solidFill>
                <a:latin typeface="Arial"/>
              </a:rPr>
              <a:t>Weekends</a:t>
            </a:r>
            <a:endParaRPr lang="en-GB" sz="1200" b="1" kern="0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6048822" y="4905136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chemeClr val="dk1"/>
                </a:solidFill>
                <a:latin typeface="Arial"/>
              </a:rPr>
              <a:t>Day </a:t>
            </a:r>
            <a:r>
              <a:rPr lang="de-DE" sz="1200" b="1" kern="0" dirty="0" err="1" smtClean="0">
                <a:solidFill>
                  <a:schemeClr val="dk1"/>
                </a:solidFill>
                <a:latin typeface="Arial"/>
              </a:rPr>
              <a:t>peak</a:t>
            </a:r>
            <a:endParaRPr lang="en-GB" sz="1200" b="1" kern="0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6048822" y="4257064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chemeClr val="dk1"/>
                </a:solidFill>
                <a:latin typeface="Arial"/>
              </a:rPr>
              <a:t>Working </a:t>
            </a:r>
            <a:r>
              <a:rPr lang="de-DE" sz="1200" b="1" kern="0" dirty="0" err="1" smtClean="0">
                <a:solidFill>
                  <a:schemeClr val="dk1"/>
                </a:solidFill>
                <a:latin typeface="Arial"/>
              </a:rPr>
              <a:t>days</a:t>
            </a:r>
            <a:endParaRPr lang="en-GB" sz="1200" b="1" kern="0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7848878" y="2159040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rmAutofit fontScale="92500" lnSpcReduction="1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smtClean="0">
                <a:solidFill>
                  <a:schemeClr val="dk1"/>
                </a:solidFill>
                <a:latin typeface="Arial"/>
              </a:rPr>
              <a:t>CATV</a:t>
            </a:r>
            <a:endParaRPr lang="en-GB" sz="1200" b="1" kern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7849038" y="1569884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rmAutofit fontScale="92500" lnSpcReduction="1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smtClean="0">
                <a:solidFill>
                  <a:schemeClr val="dk1"/>
                </a:solidFill>
                <a:latin typeface="Arial"/>
              </a:rPr>
              <a:t>Wireless</a:t>
            </a:r>
            <a:endParaRPr lang="en-GB" sz="1200" b="1" kern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7849038" y="1864462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rmAutofit fontScale="92500" lnSpcReduction="1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chemeClr val="dk1"/>
                </a:solidFill>
                <a:latin typeface="Arial"/>
              </a:rPr>
              <a:t>ADSL</a:t>
            </a:r>
            <a:endParaRPr lang="en-GB" sz="1200" b="1" kern="0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7849038" y="980728"/>
            <a:ext cx="1440000" cy="252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chemeClr val="dk1"/>
                </a:solidFill>
                <a:latin typeface="Arial"/>
              </a:rPr>
              <a:t>All </a:t>
            </a:r>
            <a:r>
              <a:rPr lang="de-DE" sz="1200" b="1" kern="0" dirty="0" err="1" smtClean="0">
                <a:solidFill>
                  <a:schemeClr val="dk1"/>
                </a:solidFill>
                <a:latin typeface="Arial"/>
              </a:rPr>
              <a:t>technologies</a:t>
            </a:r>
            <a:endParaRPr lang="en-GB" sz="1200" b="1" kern="0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18" name="Rechteck 17"/>
          <p:cNvSpPr/>
          <p:nvPr/>
        </p:nvSpPr>
        <p:spPr bwMode="auto">
          <a:xfrm>
            <a:off x="7849038" y="1275306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rmAutofit fontScale="92500" lnSpcReduction="1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smtClean="0">
                <a:solidFill>
                  <a:schemeClr val="dk1"/>
                </a:solidFill>
                <a:latin typeface="Arial"/>
              </a:rPr>
              <a:t>Wired</a:t>
            </a:r>
            <a:endParaRPr lang="en-GB" sz="1200" b="1" kern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7849038" y="3926508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rmAutofit fontScale="92500" lnSpcReduction="1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err="1" smtClean="0">
                <a:solidFill>
                  <a:schemeClr val="dk1"/>
                </a:solidFill>
                <a:latin typeface="Arial"/>
              </a:rPr>
              <a:t>WiMAX</a:t>
            </a:r>
            <a:r>
              <a:rPr lang="de-DE" sz="1200" b="1" kern="0" dirty="0" smtClean="0">
                <a:solidFill>
                  <a:schemeClr val="dk1"/>
                </a:solidFill>
                <a:latin typeface="Arial"/>
              </a:rPr>
              <a:t> / WLAN</a:t>
            </a:r>
            <a:endParaRPr lang="en-GB" sz="1200" b="1" kern="0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7849038" y="3337352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rmAutofit fontScale="92500" lnSpcReduction="1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chemeClr val="dk1"/>
                </a:solidFill>
                <a:latin typeface="Arial"/>
              </a:rPr>
              <a:t>LTE</a:t>
            </a:r>
            <a:endParaRPr lang="en-GB" sz="1200" b="1" kern="0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21" name="Rechteck 20"/>
          <p:cNvSpPr/>
          <p:nvPr/>
        </p:nvSpPr>
        <p:spPr bwMode="auto">
          <a:xfrm>
            <a:off x="7849038" y="3631930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rmAutofit fontScale="92500" lnSpcReduction="1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chemeClr val="dk1"/>
                </a:solidFill>
                <a:latin typeface="Arial"/>
              </a:rPr>
              <a:t>2G</a:t>
            </a:r>
            <a:endParaRPr lang="en-GB" sz="1200" b="1" kern="0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22" name="Rechteck 21"/>
          <p:cNvSpPr/>
          <p:nvPr/>
        </p:nvSpPr>
        <p:spPr bwMode="auto">
          <a:xfrm>
            <a:off x="7849038" y="2748196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rmAutofit fontScale="92500" lnSpcReduction="1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chemeClr val="dk1"/>
                </a:solidFill>
                <a:latin typeface="Arial"/>
              </a:rPr>
              <a:t>FTTH/B</a:t>
            </a:r>
            <a:endParaRPr lang="en-GB" sz="1200" b="1" kern="0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23" name="Rechteck 22"/>
          <p:cNvSpPr/>
          <p:nvPr/>
        </p:nvSpPr>
        <p:spPr bwMode="auto">
          <a:xfrm>
            <a:off x="7849038" y="3042774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rmAutofit fontScale="92500" lnSpcReduction="1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smtClean="0">
                <a:solidFill>
                  <a:schemeClr val="dk1"/>
                </a:solidFill>
                <a:latin typeface="Arial"/>
              </a:rPr>
              <a:t>UMTS</a:t>
            </a:r>
            <a:endParaRPr lang="en-GB" sz="1200" b="1" kern="0">
              <a:solidFill>
                <a:schemeClr val="dk1"/>
              </a:solidFill>
              <a:latin typeface="Arial"/>
            </a:endParaRPr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06" y="3265946"/>
            <a:ext cx="2808312" cy="2797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hteck 24"/>
          <p:cNvSpPr/>
          <p:nvPr/>
        </p:nvSpPr>
        <p:spPr bwMode="auto">
          <a:xfrm>
            <a:off x="6048822" y="5553208"/>
            <a:ext cx="1440000" cy="504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050" b="1" kern="0" dirty="0" smtClean="0">
                <a:solidFill>
                  <a:sysClr val="windowText" lastClr="000000"/>
                </a:solidFill>
                <a:latin typeface="Arial"/>
              </a:rPr>
              <a:t>All Tim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050" b="1" kern="0" dirty="0" smtClean="0">
                <a:solidFill>
                  <a:sysClr val="windowText" lastClr="000000"/>
                </a:solidFill>
                <a:latin typeface="Arial"/>
              </a:rPr>
              <a:t>…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050" b="1" kern="0" dirty="0" smtClean="0">
                <a:solidFill>
                  <a:sysClr val="windowText" lastClr="000000"/>
                </a:solidFill>
                <a:latin typeface="Arial"/>
              </a:rPr>
              <a:t>Day non </a:t>
            </a:r>
            <a:r>
              <a:rPr lang="de-DE" sz="1050" b="1" kern="0" dirty="0" err="1" smtClean="0">
                <a:solidFill>
                  <a:sysClr val="windowText" lastClr="000000"/>
                </a:solidFill>
                <a:latin typeface="Arial"/>
              </a:rPr>
              <a:t>peak</a:t>
            </a:r>
            <a:endParaRPr lang="en-GB" sz="1050" b="1" kern="0" dirty="0">
              <a:solidFill>
                <a:sysClr val="windowText" lastClr="000000"/>
              </a:solidFill>
              <a:latin typeface="Arial"/>
            </a:endParaRPr>
          </a:p>
        </p:txBody>
      </p:sp>
      <p:cxnSp>
        <p:nvCxnSpPr>
          <p:cNvPr id="26" name="Gerade Verbindung 25"/>
          <p:cNvCxnSpPr/>
          <p:nvPr/>
        </p:nvCxnSpPr>
        <p:spPr bwMode="auto">
          <a:xfrm>
            <a:off x="1570385" y="5479132"/>
            <a:ext cx="2375122" cy="0"/>
          </a:xfrm>
          <a:prstGeom prst="line">
            <a:avLst/>
          </a:prstGeom>
          <a:noFill/>
          <a:ln w="19050" cap="flat" cmpd="sng" algn="ctr">
            <a:solidFill>
              <a:srgbClr val="0070B7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Gewinkelte Verbindung 26"/>
          <p:cNvCxnSpPr/>
          <p:nvPr/>
        </p:nvCxnSpPr>
        <p:spPr bwMode="auto">
          <a:xfrm rot="10800000" flipV="1">
            <a:off x="3782442" y="5299132"/>
            <a:ext cx="326132" cy="180000"/>
          </a:xfrm>
          <a:prstGeom prst="bentConnector3">
            <a:avLst/>
          </a:prstGeom>
          <a:noFill/>
          <a:ln w="19050" cap="flat" cmpd="sng" algn="ctr">
            <a:solidFill>
              <a:srgbClr val="0070B7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winkelte Verbindung 27"/>
          <p:cNvCxnSpPr/>
          <p:nvPr/>
        </p:nvCxnSpPr>
        <p:spPr bwMode="auto">
          <a:xfrm rot="10800000" flipH="1" flipV="1">
            <a:off x="3782442" y="5480107"/>
            <a:ext cx="326132" cy="180000"/>
          </a:xfrm>
          <a:prstGeom prst="bentConnector3">
            <a:avLst/>
          </a:prstGeom>
          <a:noFill/>
          <a:ln w="19050" cap="flat" cmpd="sng" algn="ctr">
            <a:solidFill>
              <a:srgbClr val="0070B7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hteck 28"/>
          <p:cNvSpPr/>
          <p:nvPr/>
        </p:nvSpPr>
        <p:spPr bwMode="auto">
          <a:xfrm>
            <a:off x="1440086" y="5327096"/>
            <a:ext cx="684076" cy="702000"/>
          </a:xfrm>
          <a:prstGeom prst="rect">
            <a:avLst/>
          </a:prstGeom>
          <a:solidFill>
            <a:srgbClr val="0070B7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0" name="Gerade Verbindung 29"/>
          <p:cNvCxnSpPr/>
          <p:nvPr/>
        </p:nvCxnSpPr>
        <p:spPr bwMode="auto">
          <a:xfrm>
            <a:off x="5472758" y="5301208"/>
            <a:ext cx="396000" cy="0"/>
          </a:xfrm>
          <a:prstGeom prst="line">
            <a:avLst/>
          </a:prstGeom>
          <a:noFill/>
          <a:ln w="19050" cap="flat" cmpd="sng" algn="ctr">
            <a:solidFill>
              <a:srgbClr val="0070B7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 Verbindung 30"/>
          <p:cNvCxnSpPr/>
          <p:nvPr/>
        </p:nvCxnSpPr>
        <p:spPr bwMode="auto">
          <a:xfrm>
            <a:off x="5868822" y="5049152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Gerade Verbindung 31"/>
          <p:cNvCxnSpPr/>
          <p:nvPr/>
        </p:nvCxnSpPr>
        <p:spPr bwMode="auto">
          <a:xfrm>
            <a:off x="5868822" y="4689112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Gerade Verbindung 32"/>
          <p:cNvCxnSpPr/>
          <p:nvPr/>
        </p:nvCxnSpPr>
        <p:spPr bwMode="auto">
          <a:xfrm>
            <a:off x="5868822" y="4401080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Gerade Verbindung 33"/>
          <p:cNvCxnSpPr/>
          <p:nvPr/>
        </p:nvCxnSpPr>
        <p:spPr bwMode="auto">
          <a:xfrm>
            <a:off x="5868822" y="4041040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0070B7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 Verbindung 34"/>
          <p:cNvCxnSpPr/>
          <p:nvPr/>
        </p:nvCxnSpPr>
        <p:spPr bwMode="auto">
          <a:xfrm rot="16200000">
            <a:off x="5230658" y="4692721"/>
            <a:ext cx="1288800" cy="0"/>
          </a:xfrm>
          <a:prstGeom prst="line">
            <a:avLst/>
          </a:prstGeom>
          <a:noFill/>
          <a:ln w="19050" cap="flat" cmpd="sng" algn="ctr">
            <a:solidFill>
              <a:srgbClr val="0070B7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Gerade Verbindung 35"/>
          <p:cNvCxnSpPr/>
          <p:nvPr/>
        </p:nvCxnSpPr>
        <p:spPr bwMode="auto">
          <a:xfrm>
            <a:off x="7272862" y="4041040"/>
            <a:ext cx="396000" cy="0"/>
          </a:xfrm>
          <a:prstGeom prst="line">
            <a:avLst/>
          </a:prstGeom>
          <a:noFill/>
          <a:ln w="19050" cap="flat" cmpd="sng" algn="ctr">
            <a:solidFill>
              <a:srgbClr val="0070B7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rade Verbindung 36"/>
          <p:cNvCxnSpPr/>
          <p:nvPr/>
        </p:nvCxnSpPr>
        <p:spPr bwMode="auto">
          <a:xfrm>
            <a:off x="7668878" y="4005064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Gerade Verbindung 37"/>
          <p:cNvCxnSpPr/>
          <p:nvPr/>
        </p:nvCxnSpPr>
        <p:spPr bwMode="auto">
          <a:xfrm>
            <a:off x="5868822" y="5337184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9" name="Rechteck 38"/>
          <p:cNvSpPr/>
          <p:nvPr/>
        </p:nvSpPr>
        <p:spPr bwMode="auto">
          <a:xfrm>
            <a:off x="7848878" y="4563152"/>
            <a:ext cx="1440000" cy="234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kern="0" smtClean="0">
                <a:solidFill>
                  <a:sysClr val="windowText" lastClr="000000"/>
                </a:solidFill>
                <a:latin typeface="Arial"/>
              </a:rPr>
              <a:t>All Techn.  …  Satellite</a:t>
            </a:r>
            <a:endParaRPr lang="de-DE" sz="900" b="1" kern="0" dirty="0" smtClean="0">
              <a:solidFill>
                <a:sysClr val="windowText" lastClr="000000"/>
              </a:solidFill>
              <a:latin typeface="Arial"/>
            </a:endParaRPr>
          </a:p>
        </p:txBody>
      </p:sp>
      <p:cxnSp>
        <p:nvCxnSpPr>
          <p:cNvPr id="43" name="Gerade Verbindung 42"/>
          <p:cNvCxnSpPr/>
          <p:nvPr/>
        </p:nvCxnSpPr>
        <p:spPr bwMode="auto">
          <a:xfrm>
            <a:off x="5472758" y="5661248"/>
            <a:ext cx="576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Gerade Verbindung 43"/>
          <p:cNvCxnSpPr/>
          <p:nvPr/>
        </p:nvCxnSpPr>
        <p:spPr bwMode="auto">
          <a:xfrm flipH="1" flipV="1">
            <a:off x="7657237" y="1117720"/>
            <a:ext cx="1" cy="3247384"/>
          </a:xfrm>
          <a:prstGeom prst="line">
            <a:avLst/>
          </a:prstGeom>
          <a:noFill/>
          <a:ln w="19050" cap="flat" cmpd="sng" algn="ctr">
            <a:solidFill>
              <a:srgbClr val="0070B7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Gerade Verbindung 44"/>
          <p:cNvCxnSpPr/>
          <p:nvPr/>
        </p:nvCxnSpPr>
        <p:spPr bwMode="auto">
          <a:xfrm>
            <a:off x="7668878" y="1412776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Gerade Verbindung 45"/>
          <p:cNvCxnSpPr/>
          <p:nvPr/>
        </p:nvCxnSpPr>
        <p:spPr bwMode="auto">
          <a:xfrm>
            <a:off x="7668878" y="1124744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0070B7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46"/>
          <p:cNvCxnSpPr/>
          <p:nvPr/>
        </p:nvCxnSpPr>
        <p:spPr bwMode="auto">
          <a:xfrm>
            <a:off x="7668878" y="1700808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 Verbindung 47"/>
          <p:cNvCxnSpPr/>
          <p:nvPr/>
        </p:nvCxnSpPr>
        <p:spPr bwMode="auto">
          <a:xfrm>
            <a:off x="7668878" y="1988840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Gerade Verbindung 48"/>
          <p:cNvCxnSpPr/>
          <p:nvPr/>
        </p:nvCxnSpPr>
        <p:spPr bwMode="auto">
          <a:xfrm>
            <a:off x="7668878" y="2276872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Gerade Verbindung 49"/>
          <p:cNvCxnSpPr/>
          <p:nvPr/>
        </p:nvCxnSpPr>
        <p:spPr bwMode="auto">
          <a:xfrm>
            <a:off x="7668878" y="2564904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Gerade Verbindung 50"/>
          <p:cNvCxnSpPr/>
          <p:nvPr/>
        </p:nvCxnSpPr>
        <p:spPr bwMode="auto">
          <a:xfrm>
            <a:off x="7668878" y="3212976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51"/>
          <p:cNvCxnSpPr/>
          <p:nvPr/>
        </p:nvCxnSpPr>
        <p:spPr bwMode="auto">
          <a:xfrm>
            <a:off x="7668878" y="3501008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Gerade Verbindung 52"/>
          <p:cNvCxnSpPr/>
          <p:nvPr/>
        </p:nvCxnSpPr>
        <p:spPr bwMode="auto">
          <a:xfrm>
            <a:off x="7668878" y="3789040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Gewinkelte Verbindung 54"/>
          <p:cNvCxnSpPr>
            <a:endCxn id="39" idx="1"/>
          </p:cNvCxnSpPr>
          <p:nvPr/>
        </p:nvCxnSpPr>
        <p:spPr bwMode="auto">
          <a:xfrm>
            <a:off x="7488838" y="4437112"/>
            <a:ext cx="360040" cy="243040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Gewinkelte Verbindung 55"/>
          <p:cNvCxnSpPr>
            <a:stCxn id="11" idx="3"/>
          </p:cNvCxnSpPr>
          <p:nvPr/>
        </p:nvCxnSpPr>
        <p:spPr bwMode="auto">
          <a:xfrm>
            <a:off x="7488822" y="5031136"/>
            <a:ext cx="360056" cy="243056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Gewinkelte Verbindung 56"/>
          <p:cNvCxnSpPr/>
          <p:nvPr/>
        </p:nvCxnSpPr>
        <p:spPr bwMode="auto">
          <a:xfrm rot="16200000" flipH="1">
            <a:off x="7403342" y="5404720"/>
            <a:ext cx="531032" cy="360040"/>
          </a:xfrm>
          <a:prstGeom prst="bentConnector2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0" name="Gerade Verbindung 59"/>
          <p:cNvCxnSpPr/>
          <p:nvPr/>
        </p:nvCxnSpPr>
        <p:spPr bwMode="auto">
          <a:xfrm>
            <a:off x="9289038" y="1124744"/>
            <a:ext cx="72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1" name="Rechteck 60"/>
          <p:cNvSpPr/>
          <p:nvPr/>
        </p:nvSpPr>
        <p:spPr bwMode="auto">
          <a:xfrm>
            <a:off x="10009198" y="4869160"/>
            <a:ext cx="1944050" cy="468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</a:ln>
          <a:effectLst/>
          <a:extLst/>
        </p:spPr>
        <p:txBody>
          <a:bodyPr rtlCol="0" anchor="ctr">
            <a:normAutofit fontScale="8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ysClr val="windowText" lastClr="000000"/>
                </a:solidFill>
                <a:latin typeface="Arial"/>
              </a:rPr>
              <a:t>1 Mbit/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ysClr val="windowText" lastClr="000000"/>
                </a:solidFill>
                <a:latin typeface="Arial"/>
              </a:rPr>
              <a:t>…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ysClr val="windowText" lastClr="000000"/>
                </a:solidFill>
                <a:latin typeface="Arial"/>
              </a:rPr>
              <a:t>Data </a:t>
            </a:r>
            <a:r>
              <a:rPr lang="de-DE" sz="1200" b="1" kern="0" dirty="0" err="1" smtClean="0">
                <a:solidFill>
                  <a:sysClr val="windowText" lastClr="000000"/>
                </a:solidFill>
                <a:latin typeface="Arial"/>
              </a:rPr>
              <a:t>usage</a:t>
            </a:r>
            <a:endParaRPr lang="en-GB" sz="1200" b="1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62" name="Rechteck 61"/>
          <p:cNvSpPr/>
          <p:nvPr/>
        </p:nvSpPr>
        <p:spPr bwMode="auto">
          <a:xfrm>
            <a:off x="10009038" y="5427248"/>
            <a:ext cx="1944216" cy="59404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</a:ln>
          <a:effectLst/>
          <a:extLst/>
        </p:spPr>
        <p:txBody>
          <a:bodyPr rtlCol="0" anchor="ctr">
            <a:norm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err="1" smtClean="0">
                <a:solidFill>
                  <a:sysClr val="windowText" lastClr="000000"/>
                </a:solidFill>
                <a:latin typeface="Arial"/>
              </a:rPr>
              <a:t>And</a:t>
            </a:r>
            <a:r>
              <a:rPr lang="de-DE" sz="1200" b="1" kern="0" dirty="0" smtClean="0">
                <a:solidFill>
                  <a:sysClr val="windowText" lastClr="000000"/>
                </a:solidFill>
                <a:latin typeface="Arial"/>
              </a:rPr>
              <a:t> so on</a:t>
            </a:r>
            <a:endParaRPr lang="en-GB" sz="1200" b="1" kern="0" dirty="0">
              <a:solidFill>
                <a:sysClr val="windowText" lastClr="000000"/>
              </a:solidFill>
              <a:latin typeface="Arial"/>
            </a:endParaRPr>
          </a:p>
        </p:txBody>
      </p:sp>
      <p:cxnSp>
        <p:nvCxnSpPr>
          <p:cNvPr id="63" name="Gewinkelte Verbindung 62"/>
          <p:cNvCxnSpPr>
            <a:stCxn id="18" idx="3"/>
            <a:endCxn id="61" idx="1"/>
          </p:cNvCxnSpPr>
          <p:nvPr/>
        </p:nvCxnSpPr>
        <p:spPr bwMode="auto">
          <a:xfrm>
            <a:off x="9289038" y="1401306"/>
            <a:ext cx="720160" cy="3701854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Gerade Verbindung 63"/>
          <p:cNvCxnSpPr/>
          <p:nvPr/>
        </p:nvCxnSpPr>
        <p:spPr bwMode="auto">
          <a:xfrm flipV="1">
            <a:off x="9466962" y="1700808"/>
            <a:ext cx="0" cy="4176464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Gerade Verbindung 64"/>
          <p:cNvCxnSpPr/>
          <p:nvPr/>
        </p:nvCxnSpPr>
        <p:spPr bwMode="auto">
          <a:xfrm>
            <a:off x="9466962" y="5697855"/>
            <a:ext cx="522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Gerade Verbindung 65"/>
          <p:cNvCxnSpPr/>
          <p:nvPr/>
        </p:nvCxnSpPr>
        <p:spPr bwMode="auto">
          <a:xfrm>
            <a:off x="9289038" y="1700808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Gerade Verbindung 66"/>
          <p:cNvCxnSpPr/>
          <p:nvPr/>
        </p:nvCxnSpPr>
        <p:spPr bwMode="auto">
          <a:xfrm>
            <a:off x="9289038" y="1988840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" name="Gerade Verbindung 67"/>
          <p:cNvCxnSpPr/>
          <p:nvPr/>
        </p:nvCxnSpPr>
        <p:spPr bwMode="auto">
          <a:xfrm>
            <a:off x="9289038" y="2276872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Gerade Verbindung 68"/>
          <p:cNvCxnSpPr/>
          <p:nvPr/>
        </p:nvCxnSpPr>
        <p:spPr bwMode="auto">
          <a:xfrm>
            <a:off x="9289038" y="2852936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Gerade Verbindung 69"/>
          <p:cNvCxnSpPr/>
          <p:nvPr/>
        </p:nvCxnSpPr>
        <p:spPr bwMode="auto">
          <a:xfrm>
            <a:off x="9289038" y="3140968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Gerade Verbindung 70"/>
          <p:cNvCxnSpPr/>
          <p:nvPr/>
        </p:nvCxnSpPr>
        <p:spPr bwMode="auto">
          <a:xfrm>
            <a:off x="9289038" y="3429000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" name="Gerade Verbindung 71"/>
          <p:cNvCxnSpPr/>
          <p:nvPr/>
        </p:nvCxnSpPr>
        <p:spPr bwMode="auto">
          <a:xfrm>
            <a:off x="9289038" y="3789040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Gerade Verbindung 72"/>
          <p:cNvCxnSpPr/>
          <p:nvPr/>
        </p:nvCxnSpPr>
        <p:spPr bwMode="auto">
          <a:xfrm>
            <a:off x="9289038" y="4029447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4" name="Gerade Verbindung 73"/>
          <p:cNvCxnSpPr/>
          <p:nvPr/>
        </p:nvCxnSpPr>
        <p:spPr bwMode="auto">
          <a:xfrm>
            <a:off x="9289038" y="4365104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5" name="Gerade Verbindung 74"/>
          <p:cNvCxnSpPr/>
          <p:nvPr/>
        </p:nvCxnSpPr>
        <p:spPr bwMode="auto">
          <a:xfrm>
            <a:off x="9289038" y="5013176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" name="Gerade Verbindung 75"/>
          <p:cNvCxnSpPr/>
          <p:nvPr/>
        </p:nvCxnSpPr>
        <p:spPr bwMode="auto">
          <a:xfrm>
            <a:off x="9286962" y="5274192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Gerade Verbindung 76"/>
          <p:cNvCxnSpPr/>
          <p:nvPr/>
        </p:nvCxnSpPr>
        <p:spPr bwMode="auto">
          <a:xfrm>
            <a:off x="9288958" y="5553648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Gerade Verbindung 77"/>
          <p:cNvCxnSpPr/>
          <p:nvPr/>
        </p:nvCxnSpPr>
        <p:spPr bwMode="auto">
          <a:xfrm>
            <a:off x="9289038" y="4659743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0" name="Rechteck 79"/>
          <p:cNvSpPr/>
          <p:nvPr/>
        </p:nvSpPr>
        <p:spPr bwMode="auto">
          <a:xfrm rot="20408631">
            <a:off x="312810" y="3337521"/>
            <a:ext cx="1592155" cy="425010"/>
          </a:xfrm>
          <a:prstGeom prst="rect">
            <a:avLst/>
          </a:prstGeom>
          <a:solidFill>
            <a:srgbClr val="C00000"/>
          </a:solidFill>
          <a:ln w="12700" cap="flat" cmpd="thickThin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1" i="0" u="none" strike="noStrike" cap="none" normalizeH="0" baseline="0" dirty="0" err="1" smtClean="0">
                <a:ln>
                  <a:noFill/>
                </a:ln>
                <a:effectLst/>
                <a:latin typeface="Arial" charset="0"/>
              </a:rPr>
              <a:t>Example</a:t>
            </a:r>
            <a:endParaRPr kumimoji="0" lang="en-US" sz="1800" b="1" i="0" u="none" strike="noStrike" cap="none" normalizeH="0" baseline="0" dirty="0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6" name="Rechteck 5"/>
          <p:cNvSpPr/>
          <p:nvPr/>
        </p:nvSpPr>
        <p:spPr bwMode="auto">
          <a:xfrm>
            <a:off x="4032534" y="5193224"/>
            <a:ext cx="1440000" cy="252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chemeClr val="dk1"/>
                </a:solidFill>
                <a:latin typeface="Arial"/>
              </a:rPr>
              <a:t>Upload</a:t>
            </a:r>
            <a:endParaRPr lang="en-GB" sz="1200" b="1" kern="0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4032534" y="5517232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smtClean="0">
                <a:solidFill>
                  <a:schemeClr val="dk1"/>
                </a:solidFill>
                <a:latin typeface="Arial"/>
              </a:rPr>
              <a:t>Download</a:t>
            </a:r>
            <a:endParaRPr lang="en-GB" sz="1200" b="1" kern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85" name="Rechteck 84"/>
          <p:cNvSpPr/>
          <p:nvPr/>
        </p:nvSpPr>
        <p:spPr bwMode="auto">
          <a:xfrm>
            <a:off x="7848798" y="4221088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rmAutofit fontScale="92500" lnSpcReduction="1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err="1" smtClean="0">
                <a:solidFill>
                  <a:schemeClr val="dk1"/>
                </a:solidFill>
                <a:latin typeface="Arial"/>
              </a:rPr>
              <a:t>Satellite</a:t>
            </a:r>
            <a:endParaRPr lang="en-GB" sz="1200" b="1" kern="0" dirty="0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86" name="Gerade Verbindung 85"/>
          <p:cNvCxnSpPr/>
          <p:nvPr/>
        </p:nvCxnSpPr>
        <p:spPr bwMode="auto">
          <a:xfrm>
            <a:off x="9288958" y="5877272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Gewinkelte Verbindung 86"/>
          <p:cNvCxnSpPr>
            <a:stCxn id="9" idx="3"/>
          </p:cNvCxnSpPr>
          <p:nvPr/>
        </p:nvCxnSpPr>
        <p:spPr bwMode="auto">
          <a:xfrm>
            <a:off x="7488822" y="5355200"/>
            <a:ext cx="360056" cy="207024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Gerade Verbindung 92"/>
          <p:cNvCxnSpPr/>
          <p:nvPr/>
        </p:nvCxnSpPr>
        <p:spPr bwMode="auto">
          <a:xfrm>
            <a:off x="7657238" y="4365104"/>
            <a:ext cx="19156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8" name="Gewinkelte Verbindung 97"/>
          <p:cNvCxnSpPr/>
          <p:nvPr/>
        </p:nvCxnSpPr>
        <p:spPr bwMode="auto">
          <a:xfrm>
            <a:off x="7488758" y="4725144"/>
            <a:ext cx="360040" cy="243040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Rechteck 82"/>
          <p:cNvSpPr/>
          <p:nvPr/>
        </p:nvSpPr>
        <p:spPr bwMode="auto">
          <a:xfrm>
            <a:off x="7848798" y="4851184"/>
            <a:ext cx="1440000" cy="234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kern="0" smtClean="0">
                <a:solidFill>
                  <a:sysClr val="windowText" lastClr="000000"/>
                </a:solidFill>
                <a:latin typeface="Arial"/>
              </a:rPr>
              <a:t>All Techn.  …  Satellite</a:t>
            </a:r>
            <a:endParaRPr lang="de-DE" sz="900" b="1" kern="0" dirty="0" smtClea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84" name="Rechteck 83"/>
          <p:cNvSpPr/>
          <p:nvPr/>
        </p:nvSpPr>
        <p:spPr bwMode="auto">
          <a:xfrm>
            <a:off x="7848798" y="5139216"/>
            <a:ext cx="1440000" cy="234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kern="0" smtClean="0">
                <a:solidFill>
                  <a:sysClr val="windowText" lastClr="000000"/>
                </a:solidFill>
                <a:latin typeface="Arial"/>
              </a:rPr>
              <a:t>All Techn.  …  Satellite</a:t>
            </a:r>
            <a:endParaRPr lang="de-DE" sz="900" b="1" kern="0" dirty="0" smtClea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88" name="Rechteck 87"/>
          <p:cNvSpPr/>
          <p:nvPr/>
        </p:nvSpPr>
        <p:spPr bwMode="auto">
          <a:xfrm>
            <a:off x="7848798" y="5427248"/>
            <a:ext cx="1440000" cy="234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kern="0" smtClean="0">
                <a:solidFill>
                  <a:sysClr val="windowText" lastClr="000000"/>
                </a:solidFill>
                <a:latin typeface="Arial"/>
              </a:rPr>
              <a:t>All Techn.  …  Satellite</a:t>
            </a:r>
            <a:endParaRPr lang="de-DE" sz="900" b="1" kern="0" dirty="0" smtClea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89" name="Rechteck 88"/>
          <p:cNvSpPr/>
          <p:nvPr/>
        </p:nvSpPr>
        <p:spPr bwMode="auto">
          <a:xfrm>
            <a:off x="7848798" y="5715280"/>
            <a:ext cx="1440000" cy="234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900" b="1" kern="0" smtClean="0">
                <a:solidFill>
                  <a:sysClr val="windowText" lastClr="000000"/>
                </a:solidFill>
                <a:latin typeface="Arial"/>
              </a:rPr>
              <a:t>All Techn.  …  Satellite</a:t>
            </a:r>
            <a:endParaRPr lang="de-DE" sz="900" b="1" kern="0" dirty="0" smtClean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6048822" y="3933056"/>
            <a:ext cx="1440000" cy="2520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b="1" kern="0" dirty="0" smtClean="0">
                <a:solidFill>
                  <a:schemeClr val="dk1"/>
                </a:solidFill>
                <a:latin typeface="Arial"/>
              </a:rPr>
              <a:t>All time</a:t>
            </a:r>
            <a:endParaRPr lang="en-GB" sz="1200" b="1" kern="0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90" name="Rechteck 89"/>
          <p:cNvSpPr/>
          <p:nvPr/>
        </p:nvSpPr>
        <p:spPr bwMode="auto">
          <a:xfrm>
            <a:off x="7846962" y="2453618"/>
            <a:ext cx="1440000" cy="25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 cap="flat" cmpd="sng" algn="ctr">
            <a:noFill/>
            <a:prstDash val="solid"/>
          </a:ln>
          <a:effectLst/>
          <a:extLst/>
        </p:spPr>
        <p:txBody>
          <a:bodyPr rtlCol="0" anchor="ctr">
            <a:normAutofit fontScale="25000" lnSpcReduction="20000"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4400" b="1" kern="0" dirty="0">
                <a:solidFill>
                  <a:schemeClr val="dk1"/>
                </a:solidFill>
                <a:latin typeface="Arial"/>
              </a:rPr>
              <a:t>FTTC</a:t>
            </a:r>
            <a:r>
              <a:rPr lang="de-DE" sz="2300" b="1" kern="0" dirty="0">
                <a:solidFill>
                  <a:schemeClr val="dk1"/>
                </a:solidFill>
                <a:latin typeface="Arial"/>
              </a:rPr>
              <a:t/>
            </a:r>
            <a:br>
              <a:rPr lang="de-DE" sz="2300" b="1" kern="0" dirty="0">
                <a:solidFill>
                  <a:schemeClr val="dk1"/>
                </a:solidFill>
                <a:latin typeface="Arial"/>
              </a:rPr>
            </a:br>
            <a:r>
              <a:rPr lang="de-DE" sz="3200" b="1" kern="0" dirty="0" smtClean="0">
                <a:solidFill>
                  <a:schemeClr val="dk1"/>
                </a:solidFill>
                <a:latin typeface="Arial"/>
              </a:rPr>
              <a:t>(VDSL </a:t>
            </a:r>
            <a:r>
              <a:rPr lang="de-DE" sz="3200" b="1" kern="0" dirty="0" err="1" smtClean="0">
                <a:solidFill>
                  <a:schemeClr val="dk1"/>
                </a:solidFill>
                <a:latin typeface="Arial"/>
              </a:rPr>
              <a:t>and</a:t>
            </a:r>
            <a:r>
              <a:rPr lang="de-DE" sz="3200" b="1" kern="0" dirty="0" smtClean="0">
                <a:solidFill>
                  <a:schemeClr val="dk1"/>
                </a:solidFill>
                <a:latin typeface="Arial"/>
              </a:rPr>
              <a:t> </a:t>
            </a:r>
            <a:r>
              <a:rPr lang="de-DE" sz="3200" b="1" kern="0" dirty="0" err="1" smtClean="0">
                <a:solidFill>
                  <a:schemeClr val="dk1"/>
                </a:solidFill>
                <a:latin typeface="Arial"/>
              </a:rPr>
              <a:t>vectoring</a:t>
            </a:r>
            <a:r>
              <a:rPr lang="de-DE" sz="3200" b="1" kern="0" dirty="0" smtClean="0">
                <a:solidFill>
                  <a:schemeClr val="dk1"/>
                </a:solidFill>
                <a:latin typeface="Arial"/>
              </a:rPr>
              <a:t>)</a:t>
            </a:r>
            <a:endParaRPr lang="en-GB" sz="3200" b="1" kern="0" dirty="0">
              <a:solidFill>
                <a:schemeClr val="dk1"/>
              </a:solidFill>
              <a:latin typeface="Arial"/>
            </a:endParaRPr>
          </a:p>
        </p:txBody>
      </p:sp>
      <p:cxnSp>
        <p:nvCxnSpPr>
          <p:cNvPr id="91" name="Gerade Verbindung 90"/>
          <p:cNvCxnSpPr/>
          <p:nvPr/>
        </p:nvCxnSpPr>
        <p:spPr bwMode="auto">
          <a:xfrm>
            <a:off x="9288958" y="2564904"/>
            <a:ext cx="180000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2" name="Gerade Verbindung 91"/>
          <p:cNvCxnSpPr/>
          <p:nvPr/>
        </p:nvCxnSpPr>
        <p:spPr bwMode="auto">
          <a:xfrm>
            <a:off x="7668798" y="2852936"/>
            <a:ext cx="180000" cy="0"/>
          </a:xfrm>
          <a:prstGeom prst="line">
            <a:avLst/>
          </a:prstGeom>
          <a:noFill/>
          <a:ln w="19050" cap="flat" cmpd="sng" algn="ctr">
            <a:solidFill>
              <a:srgbClr val="BED4EB">
                <a:alpha val="8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4" name="Rectangle 2"/>
          <p:cNvSpPr txBox="1">
            <a:spLocks noChangeArrowheads="1"/>
          </p:cNvSpPr>
          <p:nvPr/>
        </p:nvSpPr>
        <p:spPr>
          <a:xfrm>
            <a:off x="722571" y="1275306"/>
            <a:ext cx="5614059" cy="1430312"/>
          </a:xfrm>
          <a:prstGeom prst="rect">
            <a:avLst/>
          </a:prstGeom>
        </p:spPr>
        <p:txBody>
          <a:bodyPr/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marL="0"/>
            <a:r>
              <a:rPr lang="en-US" altLang="en-US" sz="2000" dirty="0"/>
              <a:t>To assure comparable datasets, </a:t>
            </a:r>
            <a:endParaRPr lang="en-US" altLang="en-US" sz="2000" dirty="0" smtClean="0"/>
          </a:p>
          <a:p>
            <a:pPr marL="0"/>
            <a:r>
              <a:rPr lang="en-US" altLang="en-US" sz="2000" dirty="0" smtClean="0"/>
              <a:t>the </a:t>
            </a:r>
            <a:r>
              <a:rPr lang="en-US" altLang="en-US" sz="2000" dirty="0"/>
              <a:t>same attributes and metadata categories are collected for all 3 </a:t>
            </a:r>
            <a:r>
              <a:rPr lang="en-US" altLang="en-US" sz="2000" dirty="0" smtClean="0"/>
              <a:t>definitions.</a:t>
            </a:r>
            <a:endParaRPr lang="en-US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44053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Open </a:t>
            </a:r>
            <a:r>
              <a:rPr lang="de-DE" b="1" dirty="0" err="1" smtClean="0"/>
              <a:t>access</a:t>
            </a:r>
            <a:r>
              <a:rPr lang="de-DE" b="1" dirty="0" smtClean="0"/>
              <a:t> </a:t>
            </a:r>
            <a:r>
              <a:rPr lang="de-DE" b="1" dirty="0" err="1" smtClean="0"/>
              <a:t>is</a:t>
            </a:r>
            <a:r>
              <a:rPr lang="de-DE" b="1" dirty="0" smtClean="0"/>
              <a:t> </a:t>
            </a:r>
            <a:r>
              <a:rPr lang="de-DE" b="1" dirty="0" err="1" smtClean="0"/>
              <a:t>granted</a:t>
            </a:r>
            <a:r>
              <a:rPr lang="de-DE" b="1" dirty="0" smtClean="0"/>
              <a:t> </a:t>
            </a:r>
            <a:r>
              <a:rPr lang="de-DE" b="1" dirty="0" err="1" smtClean="0"/>
              <a:t>according</a:t>
            </a:r>
            <a:r>
              <a:rPr lang="de-DE" b="1" dirty="0" smtClean="0"/>
              <a:t> to </a:t>
            </a:r>
            <a:r>
              <a:rPr lang="de-DE" b="1" dirty="0" err="1" smtClean="0"/>
              <a:t>data</a:t>
            </a:r>
            <a:r>
              <a:rPr lang="de-DE" b="1" dirty="0" smtClean="0"/>
              <a:t> </a:t>
            </a:r>
            <a:r>
              <a:rPr lang="de-DE" b="1" dirty="0" err="1" smtClean="0"/>
              <a:t>providers</a:t>
            </a:r>
            <a:r>
              <a:rPr lang="de-DE" b="1" dirty="0" smtClean="0"/>
              <a:t>‘ </a:t>
            </a:r>
            <a:r>
              <a:rPr lang="de-DE" b="1" dirty="0" err="1" smtClean="0"/>
              <a:t>approval</a:t>
            </a:r>
            <a:endParaRPr lang="de-DE" b="1" dirty="0"/>
          </a:p>
        </p:txBody>
      </p:sp>
      <p:graphicFrame>
        <p:nvGraphicFramePr>
          <p:cNvPr id="8" name="Inhaltsplatzhalt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1275387"/>
              </p:ext>
            </p:extLst>
          </p:nvPr>
        </p:nvGraphicFramePr>
        <p:xfrm>
          <a:off x="722313" y="1268760"/>
          <a:ext cx="10775950" cy="45367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9737EE-6D6B-4FC2-820B-A8CC40D22E9C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1609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4840" y="0"/>
            <a:ext cx="10775917" cy="893850"/>
          </a:xfrm>
        </p:spPr>
        <p:txBody>
          <a:bodyPr/>
          <a:lstStyle/>
          <a:p>
            <a:pPr marL="0"/>
            <a:r>
              <a:rPr lang="en-GB" altLang="en-US" b="1" dirty="0" smtClean="0"/>
              <a:t>What is the time line?</a:t>
            </a:r>
            <a:endParaRPr lang="en-US" altLang="en-US" b="1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  <p:sp>
        <p:nvSpPr>
          <p:cNvPr id="25" name="Rectangle 3"/>
          <p:cNvSpPr txBox="1">
            <a:spLocks noChangeArrowheads="1"/>
          </p:cNvSpPr>
          <p:nvPr/>
        </p:nvSpPr>
        <p:spPr>
          <a:xfrm>
            <a:off x="539552" y="1052736"/>
            <a:ext cx="10980936" cy="223224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None/>
            </a:pPr>
            <a:r>
              <a:rPr lang="en-GB" altLang="en-US" sz="2000" b="1" i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years to set up the platform: </a:t>
            </a:r>
          </a:p>
          <a:p>
            <a:pPr>
              <a:spcBef>
                <a:spcPts val="6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altLang="en-US" sz="2000" b="0" i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2016 development of data base and design of platform, consultation with data providers</a:t>
            </a:r>
          </a:p>
          <a:p>
            <a:pPr>
              <a:spcBef>
                <a:spcPts val="6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altLang="en-US" sz="2000" b="0" i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end of 2017: final and complete version of the platform is online</a:t>
            </a:r>
          </a:p>
          <a:p>
            <a:pPr>
              <a:spcBef>
                <a:spcPts val="6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altLang="en-US" sz="2000" b="0" i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of 2018: automated data collection process and data publication</a:t>
            </a:r>
          </a:p>
          <a:p>
            <a:pPr>
              <a:spcBef>
                <a:spcPts val="6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</a:pPr>
            <a:r>
              <a:rPr lang="en-GB" altLang="en-US" sz="2000" b="0" i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of BEREC’s net neutrality working </a:t>
            </a:r>
            <a:r>
              <a:rPr lang="en-GB" altLang="en-US" sz="2000" b="0" i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is reflected in the project</a:t>
            </a:r>
            <a:endParaRPr lang="en-GB" altLang="en-US" sz="2000" b="0" i="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endParaRPr lang="en-GB" altLang="en-US" sz="2000" i="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endParaRPr lang="en-GB" altLang="en-US" sz="2000" i="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endParaRPr lang="en-GB" altLang="en-US" sz="2000" i="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Ø"/>
            </a:pPr>
            <a:endParaRPr lang="en-GB" altLang="en-US" sz="2000" i="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ingekerbter Richtungspfeil 3"/>
          <p:cNvSpPr/>
          <p:nvPr/>
        </p:nvSpPr>
        <p:spPr bwMode="auto">
          <a:xfrm>
            <a:off x="720006" y="4040624"/>
            <a:ext cx="2808312" cy="2052672"/>
          </a:xfrm>
          <a:prstGeom prst="chevron">
            <a:avLst>
              <a:gd name="adj" fmla="val 21411"/>
            </a:avLst>
          </a:prstGeom>
          <a:solidFill>
            <a:srgbClr val="0073B9">
              <a:alpha val="60000"/>
            </a:srgbClr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Eingekerbter Richtungspfeil 27"/>
          <p:cNvSpPr/>
          <p:nvPr/>
        </p:nvSpPr>
        <p:spPr bwMode="auto">
          <a:xfrm>
            <a:off x="8191202" y="4040624"/>
            <a:ext cx="2825948" cy="2052672"/>
          </a:xfrm>
          <a:prstGeom prst="chevron">
            <a:avLst>
              <a:gd name="adj" fmla="val 17421"/>
            </a:avLst>
          </a:prstGeom>
          <a:solidFill>
            <a:srgbClr val="216D9E">
              <a:alpha val="60000"/>
            </a:srgbClr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Rectangle 3"/>
          <p:cNvSpPr txBox="1">
            <a:spLocks noChangeArrowheads="1"/>
          </p:cNvSpPr>
          <p:nvPr/>
        </p:nvSpPr>
        <p:spPr>
          <a:xfrm>
            <a:off x="539552" y="3645024"/>
            <a:ext cx="2044278" cy="504056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•"/>
              <a:defRPr sz="2400" i="1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9FBA"/>
              </a:buClr>
              <a:buChar char="•"/>
              <a:defRPr sz="2000" b="1">
                <a:solidFill>
                  <a:srgbClr val="0F5494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defRPr sz="1400">
                <a:solidFill>
                  <a:srgbClr val="0F5494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None/>
            </a:pPr>
            <a:r>
              <a:rPr lang="en-GB" altLang="en-US" sz="1800" b="1" i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steps:</a:t>
            </a:r>
            <a:endParaRPr lang="en-GB" altLang="en-US" sz="1800" i="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3312294" y="4052224"/>
            <a:ext cx="2592288" cy="2054107"/>
            <a:chOff x="3215381" y="3680584"/>
            <a:chExt cx="3906364" cy="1639145"/>
          </a:xfrm>
        </p:grpSpPr>
        <p:sp>
          <p:nvSpPr>
            <p:cNvPr id="12" name="Eingekerbter Richtungspfeil 11"/>
            <p:cNvSpPr/>
            <p:nvPr/>
          </p:nvSpPr>
          <p:spPr bwMode="auto">
            <a:xfrm>
              <a:off x="3215381" y="3680584"/>
              <a:ext cx="3906364" cy="1639145"/>
            </a:xfrm>
            <a:prstGeom prst="chevron">
              <a:avLst>
                <a:gd name="adj" fmla="val 18773"/>
              </a:avLst>
            </a:prstGeom>
            <a:solidFill>
              <a:srgbClr val="0073B9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" name="Textfeld 6"/>
            <p:cNvSpPr txBox="1"/>
            <p:nvPr/>
          </p:nvSpPr>
          <p:spPr>
            <a:xfrm>
              <a:off x="3432401" y="4045180"/>
              <a:ext cx="3614584" cy="5760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en-GB" altLang="en-US" sz="18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 </a:t>
              </a:r>
              <a:r>
                <a:rPr lang="en-GB" altLang="en-US" sz="1800" b="1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 </a:t>
              </a:r>
              <a:r>
                <a:rPr lang="en-GB" altLang="en-US" sz="18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 June </a:t>
              </a:r>
              <a:r>
                <a:rPr lang="en-GB" altLang="en-US" sz="1800" b="1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16: </a:t>
              </a:r>
            </a:p>
            <a:p>
              <a:pPr algn="ctr"/>
              <a:r>
                <a:rPr lang="en-GB" altLang="en-US" sz="1800" b="1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GB" altLang="en-US" sz="1800" b="1" kern="0" baseline="300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</a:t>
              </a:r>
              <a:r>
                <a:rPr lang="en-GB" altLang="en-US" sz="1800" b="1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Workshop </a:t>
              </a:r>
            </a:p>
            <a:p>
              <a:pPr algn="ctr"/>
              <a:r>
                <a:rPr lang="en-GB" altLang="en-US" sz="1800" b="1" kern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ith Regulators + data providers</a:t>
              </a:r>
              <a:endParaRPr lang="en-US" sz="1800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Textfeld 2"/>
          <p:cNvSpPr txBox="1"/>
          <p:nvPr/>
        </p:nvSpPr>
        <p:spPr>
          <a:xfrm>
            <a:off x="1008038" y="4231265"/>
            <a:ext cx="2398675" cy="193403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Apr – Jun 2016:</a:t>
            </a:r>
          </a:p>
          <a:p>
            <a:pPr algn="ctr"/>
            <a:r>
              <a:rPr lang="en-US" sz="1800" dirty="0">
                <a:solidFill>
                  <a:schemeClr val="bg1"/>
                </a:solidFill>
              </a:rPr>
              <a:t>Test datasets </a:t>
            </a:r>
            <a:endParaRPr lang="en-US" sz="1800" dirty="0" smtClean="0">
              <a:solidFill>
                <a:schemeClr val="bg1"/>
              </a:solidFill>
            </a:endParaRPr>
          </a:p>
          <a:p>
            <a:pPr algn="ctr"/>
            <a:r>
              <a:rPr lang="en-US" sz="1800" dirty="0" smtClean="0">
                <a:solidFill>
                  <a:schemeClr val="bg1"/>
                </a:solidFill>
              </a:rPr>
              <a:t>assessment </a:t>
            </a:r>
            <a:r>
              <a:rPr lang="en-US" sz="1800" dirty="0">
                <a:solidFill>
                  <a:schemeClr val="bg1"/>
                </a:solidFill>
              </a:rPr>
              <a:t>and evaluation</a:t>
            </a:r>
          </a:p>
          <a:p>
            <a:endParaRPr lang="de-DE" sz="1800" dirty="0"/>
          </a:p>
        </p:txBody>
      </p:sp>
      <p:sp>
        <p:nvSpPr>
          <p:cNvPr id="9" name="Textfeld 8"/>
          <p:cNvSpPr txBox="1"/>
          <p:nvPr/>
        </p:nvSpPr>
        <p:spPr>
          <a:xfrm>
            <a:off x="8496870" y="4052222"/>
            <a:ext cx="2376264" cy="203089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December 2016:</a:t>
            </a:r>
          </a:p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2</a:t>
            </a:r>
            <a:r>
              <a:rPr lang="en-US" sz="1800" b="1" baseline="30000" dirty="0" smtClean="0">
                <a:solidFill>
                  <a:schemeClr val="bg1"/>
                </a:solidFill>
              </a:rPr>
              <a:t>nd</a:t>
            </a:r>
            <a:r>
              <a:rPr lang="en-US" sz="1800" b="1" dirty="0" smtClean="0">
                <a:solidFill>
                  <a:schemeClr val="bg1"/>
                </a:solidFill>
              </a:rPr>
              <a:t> Workshop with data providers and Internet Service Providers</a:t>
            </a:r>
            <a:endParaRPr lang="en-US" sz="1800" b="1" dirty="0">
              <a:solidFill>
                <a:schemeClr val="bg1"/>
              </a:solidFill>
            </a:endParaRPr>
          </a:p>
        </p:txBody>
      </p:sp>
      <p:grpSp>
        <p:nvGrpSpPr>
          <p:cNvPr id="15" name="Gruppieren 14"/>
          <p:cNvGrpSpPr/>
          <p:nvPr/>
        </p:nvGrpSpPr>
        <p:grpSpPr>
          <a:xfrm>
            <a:off x="5760566" y="4046008"/>
            <a:ext cx="2594925" cy="2054107"/>
            <a:chOff x="3211407" y="3680584"/>
            <a:chExt cx="3910338" cy="1639145"/>
          </a:xfrm>
          <a:noFill/>
        </p:grpSpPr>
        <p:sp>
          <p:nvSpPr>
            <p:cNvPr id="17" name="Eingekerbter Richtungspfeil 16"/>
            <p:cNvSpPr/>
            <p:nvPr/>
          </p:nvSpPr>
          <p:spPr bwMode="auto">
            <a:xfrm>
              <a:off x="3215381" y="3680584"/>
              <a:ext cx="3906364" cy="1639145"/>
            </a:xfrm>
            <a:prstGeom prst="chevron">
              <a:avLst>
                <a:gd name="adj" fmla="val 18773"/>
              </a:avLst>
            </a:prstGeom>
            <a:solidFill>
              <a:srgbClr val="216D9E"/>
            </a:solidFill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3211407" y="4101191"/>
              <a:ext cx="3614584" cy="810868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marL="355600" algn="ctr"/>
              <a:r>
                <a:rPr lang="de-DE" sz="1800" b="1" dirty="0">
                  <a:solidFill>
                    <a:schemeClr val="bg1"/>
                  </a:solidFill>
                </a:rPr>
                <a:t>As </a:t>
              </a:r>
              <a:r>
                <a:rPr lang="de-DE" sz="1800" b="1" dirty="0" err="1">
                  <a:solidFill>
                    <a:schemeClr val="bg1"/>
                  </a:solidFill>
                </a:rPr>
                <a:t>of</a:t>
              </a:r>
              <a:r>
                <a:rPr lang="de-DE" sz="1800" b="1" dirty="0">
                  <a:solidFill>
                    <a:schemeClr val="bg1"/>
                  </a:solidFill>
                </a:rPr>
                <a:t> June:</a:t>
              </a:r>
            </a:p>
            <a:p>
              <a:pPr marL="355600" algn="ctr"/>
              <a:r>
                <a:rPr lang="de-DE" sz="1800" dirty="0">
                  <a:solidFill>
                    <a:schemeClr val="bg1"/>
                  </a:solidFill>
                </a:rPr>
                <a:t>Start </a:t>
              </a:r>
              <a:r>
                <a:rPr lang="de-DE" sz="1800" dirty="0" err="1">
                  <a:solidFill>
                    <a:schemeClr val="bg1"/>
                  </a:solidFill>
                </a:rPr>
                <a:t>of</a:t>
              </a:r>
              <a:r>
                <a:rPr lang="de-DE" sz="1800" dirty="0">
                  <a:solidFill>
                    <a:schemeClr val="bg1"/>
                  </a:solidFill>
                </a:rPr>
                <a:t> European-</a:t>
              </a:r>
              <a:r>
                <a:rPr lang="de-DE" sz="1800" dirty="0" err="1">
                  <a:solidFill>
                    <a:schemeClr val="bg1"/>
                  </a:solidFill>
                </a:rPr>
                <a:t>wide</a:t>
              </a:r>
              <a:r>
                <a:rPr lang="de-DE" sz="1800" dirty="0">
                  <a:solidFill>
                    <a:schemeClr val="bg1"/>
                  </a:solidFill>
                </a:rPr>
                <a:t> </a:t>
              </a:r>
              <a:r>
                <a:rPr lang="de-DE" sz="1800" dirty="0" err="1">
                  <a:solidFill>
                    <a:schemeClr val="bg1"/>
                  </a:solidFill>
                </a:rPr>
                <a:t>standardised</a:t>
              </a:r>
              <a:r>
                <a:rPr lang="de-DE" sz="1800" dirty="0">
                  <a:solidFill>
                    <a:schemeClr val="bg1"/>
                  </a:solidFill>
                </a:rPr>
                <a:t> </a:t>
              </a:r>
              <a:r>
                <a:rPr lang="de-DE" sz="1800" dirty="0" err="1">
                  <a:solidFill>
                    <a:schemeClr val="bg1"/>
                  </a:solidFill>
                </a:rPr>
                <a:t>data</a:t>
              </a:r>
              <a:r>
                <a:rPr lang="de-DE" sz="1800" dirty="0">
                  <a:solidFill>
                    <a:schemeClr val="bg1"/>
                  </a:solidFill>
                </a:rPr>
                <a:t> </a:t>
              </a:r>
              <a:r>
                <a:rPr lang="de-DE" sz="1800" dirty="0" err="1">
                  <a:solidFill>
                    <a:schemeClr val="bg1"/>
                  </a:solidFill>
                </a:rPr>
                <a:t>collection</a:t>
              </a:r>
              <a:endParaRPr lang="en-US" sz="18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5773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4" grpId="0" animBg="1"/>
      <p:bldP spid="28" grpId="0" animBg="1"/>
      <p:bldP spid="32" grpId="0"/>
      <p:bldP spid="3" grpId="0"/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73"/>
          <a:stretch/>
        </p:blipFill>
        <p:spPr bwMode="auto">
          <a:xfrm>
            <a:off x="7354960" y="1392662"/>
            <a:ext cx="4382270" cy="2562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720006" y="3738267"/>
            <a:ext cx="7776864" cy="24990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chemeClr val="accent6"/>
              </a:buClr>
              <a:buNone/>
            </a:pPr>
            <a:r>
              <a:rPr lang="en-GB" altLang="en-US" sz="20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Don’t hesitate to contact us for more information</a:t>
            </a:r>
            <a:endParaRPr lang="en-GB" altLang="en-US" sz="20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>
              <a:spcBef>
                <a:spcPts val="600"/>
              </a:spcBef>
              <a:spcAft>
                <a:spcPts val="600"/>
              </a:spcAft>
            </a:pPr>
            <a:r>
              <a:rPr lang="en-GB" altLang="en-US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Ms Christiane Lehmann - head of project at TÜV </a:t>
            </a:r>
            <a:r>
              <a:rPr lang="en-GB" altLang="en-US" sz="2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heinland</a:t>
            </a:r>
            <a:endParaRPr lang="en-GB" altLang="en-US" sz="2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>
              <a:spcBef>
                <a:spcPts val="600"/>
              </a:spcBef>
              <a:spcAft>
                <a:spcPts val="600"/>
              </a:spcAft>
            </a:pPr>
            <a:r>
              <a:rPr lang="en-GB" altLang="en-US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Project </a:t>
            </a:r>
            <a:r>
              <a:rPr lang="en-GB" altLang="en-US" sz="2000" kern="0" dirty="0">
                <a:latin typeface="Arial" panose="020B0604020202020204" pitchFamily="34" charset="0"/>
                <a:cs typeface="Arial" panose="020B0604020202020204" pitchFamily="34" charset="0"/>
              </a:rPr>
              <a:t>website: </a:t>
            </a:r>
            <a:r>
              <a:rPr lang="en-GB" altLang="en-US" sz="2000" kern="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www.broadbandmapping.eu/</a:t>
            </a:r>
            <a:endParaRPr lang="en-GB" altLang="en-US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>
              <a:spcBef>
                <a:spcPts val="600"/>
              </a:spcBef>
              <a:spcAft>
                <a:spcPts val="600"/>
              </a:spcAft>
            </a:pPr>
            <a:r>
              <a:rPr lang="en-GB" altLang="en-US" sz="2000" kern="0" dirty="0">
                <a:latin typeface="Arial" panose="020B0604020202020204" pitchFamily="34" charset="0"/>
                <a:cs typeface="Arial" panose="020B0604020202020204" pitchFamily="34" charset="0"/>
              </a:rPr>
              <a:t>Email: </a:t>
            </a:r>
            <a:r>
              <a:rPr lang="en-GB" altLang="en-US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broadband-mapping@de.tuv.com </a:t>
            </a:r>
            <a:endParaRPr lang="en-GB" altLang="en-US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/>
          </a:p>
        </p:txBody>
      </p:sp>
      <p:sp>
        <p:nvSpPr>
          <p:cNvPr id="8" name="Textfeld 7"/>
          <p:cNvSpPr txBox="1"/>
          <p:nvPr/>
        </p:nvSpPr>
        <p:spPr>
          <a:xfrm>
            <a:off x="720006" y="1362472"/>
            <a:ext cx="3600400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altLang="en-US" sz="2400" b="1" i="1" kern="0" dirty="0">
                <a:latin typeface="Arial" panose="020B0604020202020204" pitchFamily="34" charset="0"/>
                <a:cs typeface="Arial" panose="020B0604020202020204" pitchFamily="34" charset="0"/>
              </a:rPr>
              <a:t>Thank you for your attention!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789332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What</a:t>
            </a:r>
            <a:r>
              <a:rPr lang="de-DE" b="1" dirty="0" smtClean="0"/>
              <a:t> </a:t>
            </a:r>
            <a:r>
              <a:rPr lang="de-DE" b="1" dirty="0" err="1" smtClean="0"/>
              <a:t>is</a:t>
            </a:r>
            <a:r>
              <a:rPr lang="de-DE" b="1" dirty="0" smtClean="0"/>
              <a:t> </a:t>
            </a:r>
            <a:r>
              <a:rPr lang="de-DE" b="1" dirty="0"/>
              <a:t>the </a:t>
            </a:r>
            <a:r>
              <a:rPr lang="de-DE" b="1" dirty="0" smtClean="0"/>
              <a:t>European </a:t>
            </a:r>
            <a:r>
              <a:rPr lang="de-DE" b="1" dirty="0" err="1" smtClean="0"/>
              <a:t>Commission‘s</a:t>
            </a:r>
            <a:r>
              <a:rPr lang="de-DE" b="1" dirty="0" smtClean="0"/>
              <a:t> </a:t>
            </a:r>
            <a:r>
              <a:rPr lang="de-DE" b="1" dirty="0" err="1" smtClean="0"/>
              <a:t>project</a:t>
            </a:r>
            <a:r>
              <a:rPr lang="de-DE" b="1" dirty="0" smtClean="0"/>
              <a:t> </a:t>
            </a:r>
            <a:r>
              <a:rPr lang="de-DE" b="1" dirty="0" err="1" smtClean="0"/>
              <a:t>about</a:t>
            </a:r>
            <a:r>
              <a:rPr lang="de-DE" b="1" dirty="0" smtClean="0"/>
              <a:t>?</a:t>
            </a:r>
            <a:endParaRPr lang="de-DE" b="1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4967537" y="188640"/>
            <a:ext cx="727367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altLang="en-US" dirty="0">
              <a:latin typeface="Arial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GB" altLang="en-US" dirty="0">
              <a:latin typeface="Arial"/>
              <a:cs typeface="Arial" panose="020B0604020202020204" pitchFamily="34" charset="0"/>
            </a:endParaRPr>
          </a:p>
        </p:txBody>
      </p:sp>
      <p:grpSp>
        <p:nvGrpSpPr>
          <p:cNvPr id="11" name="Gruppieren 10"/>
          <p:cNvGrpSpPr/>
          <p:nvPr/>
        </p:nvGrpSpPr>
        <p:grpSpPr>
          <a:xfrm>
            <a:off x="8347682" y="4704175"/>
            <a:ext cx="931070" cy="1150073"/>
            <a:chOff x="9942064" y="4797152"/>
            <a:chExt cx="931070" cy="1150073"/>
          </a:xfrm>
        </p:grpSpPr>
        <p:grpSp>
          <p:nvGrpSpPr>
            <p:cNvPr id="16" name="Gruppieren 15"/>
            <p:cNvGrpSpPr/>
            <p:nvPr/>
          </p:nvGrpSpPr>
          <p:grpSpPr>
            <a:xfrm>
              <a:off x="9942064" y="4797152"/>
              <a:ext cx="324036" cy="566123"/>
              <a:chOff x="6912694" y="3833428"/>
              <a:chExt cx="576064" cy="1035732"/>
            </a:xfrm>
            <a:solidFill>
              <a:schemeClr val="bg1">
                <a:lumMod val="65000"/>
              </a:schemeClr>
            </a:solidFill>
          </p:grpSpPr>
          <p:sp>
            <p:nvSpPr>
              <p:cNvPr id="17" name="Ellipse 16"/>
              <p:cNvSpPr/>
              <p:nvPr/>
            </p:nvSpPr>
            <p:spPr bwMode="auto">
              <a:xfrm>
                <a:off x="7056710" y="4077072"/>
                <a:ext cx="288032" cy="792088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18" name="Ellipse 17"/>
              <p:cNvSpPr/>
              <p:nvPr/>
            </p:nvSpPr>
            <p:spPr bwMode="auto">
              <a:xfrm>
                <a:off x="7056710" y="3833428"/>
                <a:ext cx="288032" cy="243644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22" name="Ellipse 21"/>
              <p:cNvSpPr/>
              <p:nvPr/>
            </p:nvSpPr>
            <p:spPr bwMode="auto">
              <a:xfrm>
                <a:off x="7200726" y="4216115"/>
                <a:ext cx="288032" cy="10256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23" name="Ellipse 22"/>
              <p:cNvSpPr/>
              <p:nvPr/>
            </p:nvSpPr>
            <p:spPr bwMode="auto">
              <a:xfrm>
                <a:off x="6912694" y="4216115"/>
                <a:ext cx="288032" cy="10256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</p:grpSp>
        <p:grpSp>
          <p:nvGrpSpPr>
            <p:cNvPr id="24" name="Gruppieren 23"/>
            <p:cNvGrpSpPr/>
            <p:nvPr/>
          </p:nvGrpSpPr>
          <p:grpSpPr>
            <a:xfrm>
              <a:off x="10245581" y="5052183"/>
              <a:ext cx="324036" cy="566123"/>
              <a:chOff x="6912694" y="3833428"/>
              <a:chExt cx="576064" cy="1035732"/>
            </a:xfrm>
            <a:solidFill>
              <a:schemeClr val="bg1">
                <a:lumMod val="65000"/>
              </a:schemeClr>
            </a:solidFill>
          </p:grpSpPr>
          <p:sp>
            <p:nvSpPr>
              <p:cNvPr id="25" name="Ellipse 24"/>
              <p:cNvSpPr/>
              <p:nvPr/>
            </p:nvSpPr>
            <p:spPr bwMode="auto">
              <a:xfrm>
                <a:off x="7056710" y="4077072"/>
                <a:ext cx="288032" cy="792088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26" name="Ellipse 25"/>
              <p:cNvSpPr/>
              <p:nvPr/>
            </p:nvSpPr>
            <p:spPr bwMode="auto">
              <a:xfrm>
                <a:off x="7056710" y="3833428"/>
                <a:ext cx="288032" cy="243644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27" name="Ellipse 26"/>
              <p:cNvSpPr/>
              <p:nvPr/>
            </p:nvSpPr>
            <p:spPr bwMode="auto">
              <a:xfrm>
                <a:off x="7200726" y="4216115"/>
                <a:ext cx="288032" cy="10256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28" name="Ellipse 27"/>
              <p:cNvSpPr/>
              <p:nvPr/>
            </p:nvSpPr>
            <p:spPr bwMode="auto">
              <a:xfrm>
                <a:off x="6912694" y="4216115"/>
                <a:ext cx="288032" cy="10256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</p:grpSp>
        <p:grpSp>
          <p:nvGrpSpPr>
            <p:cNvPr id="29" name="Gruppieren 28"/>
            <p:cNvGrpSpPr/>
            <p:nvPr/>
          </p:nvGrpSpPr>
          <p:grpSpPr>
            <a:xfrm>
              <a:off x="10023073" y="5381102"/>
              <a:ext cx="324036" cy="566123"/>
              <a:chOff x="6912694" y="3833428"/>
              <a:chExt cx="576064" cy="1035732"/>
            </a:xfrm>
            <a:solidFill>
              <a:schemeClr val="bg1">
                <a:lumMod val="65000"/>
              </a:schemeClr>
            </a:solidFill>
          </p:grpSpPr>
          <p:sp>
            <p:nvSpPr>
              <p:cNvPr id="30" name="Ellipse 29"/>
              <p:cNvSpPr/>
              <p:nvPr/>
            </p:nvSpPr>
            <p:spPr bwMode="auto">
              <a:xfrm>
                <a:off x="7056710" y="4077072"/>
                <a:ext cx="288032" cy="792088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31" name="Ellipse 30"/>
              <p:cNvSpPr/>
              <p:nvPr/>
            </p:nvSpPr>
            <p:spPr bwMode="auto">
              <a:xfrm>
                <a:off x="7056710" y="3833428"/>
                <a:ext cx="288032" cy="243644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32" name="Ellipse 31"/>
              <p:cNvSpPr/>
              <p:nvPr/>
            </p:nvSpPr>
            <p:spPr bwMode="auto">
              <a:xfrm>
                <a:off x="7200726" y="4216115"/>
                <a:ext cx="288032" cy="10256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33" name="Ellipse 32"/>
              <p:cNvSpPr/>
              <p:nvPr/>
            </p:nvSpPr>
            <p:spPr bwMode="auto">
              <a:xfrm>
                <a:off x="6912694" y="4216115"/>
                <a:ext cx="288032" cy="10256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</p:grpSp>
        <p:grpSp>
          <p:nvGrpSpPr>
            <p:cNvPr id="34" name="Gruppieren 33"/>
            <p:cNvGrpSpPr/>
            <p:nvPr/>
          </p:nvGrpSpPr>
          <p:grpSpPr>
            <a:xfrm>
              <a:off x="10509127" y="5381102"/>
              <a:ext cx="324036" cy="566123"/>
              <a:chOff x="6912694" y="3833428"/>
              <a:chExt cx="576064" cy="1035732"/>
            </a:xfrm>
            <a:solidFill>
              <a:schemeClr val="bg1">
                <a:lumMod val="65000"/>
              </a:schemeClr>
            </a:solidFill>
          </p:grpSpPr>
          <p:sp>
            <p:nvSpPr>
              <p:cNvPr id="35" name="Ellipse 34"/>
              <p:cNvSpPr/>
              <p:nvPr/>
            </p:nvSpPr>
            <p:spPr bwMode="auto">
              <a:xfrm>
                <a:off x="7056710" y="4077072"/>
                <a:ext cx="288032" cy="792088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36" name="Ellipse 35"/>
              <p:cNvSpPr/>
              <p:nvPr/>
            </p:nvSpPr>
            <p:spPr bwMode="auto">
              <a:xfrm>
                <a:off x="7056710" y="3833428"/>
                <a:ext cx="288032" cy="243644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37" name="Ellipse 36"/>
              <p:cNvSpPr/>
              <p:nvPr/>
            </p:nvSpPr>
            <p:spPr bwMode="auto">
              <a:xfrm>
                <a:off x="7200726" y="4216115"/>
                <a:ext cx="288032" cy="10256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38" name="Ellipse 37"/>
              <p:cNvSpPr/>
              <p:nvPr/>
            </p:nvSpPr>
            <p:spPr bwMode="auto">
              <a:xfrm>
                <a:off x="6912694" y="4216115"/>
                <a:ext cx="288032" cy="10256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</p:grpSp>
        <p:grpSp>
          <p:nvGrpSpPr>
            <p:cNvPr id="39" name="Gruppieren 38"/>
            <p:cNvGrpSpPr/>
            <p:nvPr/>
          </p:nvGrpSpPr>
          <p:grpSpPr>
            <a:xfrm>
              <a:off x="10549098" y="4797152"/>
              <a:ext cx="324036" cy="566123"/>
              <a:chOff x="6912694" y="3833428"/>
              <a:chExt cx="576064" cy="1035732"/>
            </a:xfrm>
            <a:solidFill>
              <a:schemeClr val="bg1">
                <a:lumMod val="65000"/>
              </a:schemeClr>
            </a:solidFill>
          </p:grpSpPr>
          <p:sp>
            <p:nvSpPr>
              <p:cNvPr id="40" name="Ellipse 39"/>
              <p:cNvSpPr/>
              <p:nvPr/>
            </p:nvSpPr>
            <p:spPr bwMode="auto">
              <a:xfrm>
                <a:off x="7056710" y="4077072"/>
                <a:ext cx="288032" cy="792088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41" name="Ellipse 40"/>
              <p:cNvSpPr/>
              <p:nvPr/>
            </p:nvSpPr>
            <p:spPr bwMode="auto">
              <a:xfrm>
                <a:off x="7056710" y="3833428"/>
                <a:ext cx="288032" cy="243644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42" name="Ellipse 41"/>
              <p:cNvSpPr/>
              <p:nvPr/>
            </p:nvSpPr>
            <p:spPr bwMode="auto">
              <a:xfrm>
                <a:off x="7200726" y="4216115"/>
                <a:ext cx="288032" cy="10256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  <p:sp>
            <p:nvSpPr>
              <p:cNvPr id="43" name="Ellipse 42"/>
              <p:cNvSpPr/>
              <p:nvPr/>
            </p:nvSpPr>
            <p:spPr bwMode="auto">
              <a:xfrm>
                <a:off x="6912694" y="4216115"/>
                <a:ext cx="288032" cy="10256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/>
                </a:endParaRPr>
              </a:p>
            </p:txBody>
          </p:sp>
        </p:grpSp>
      </p:grpSp>
      <p:sp>
        <p:nvSpPr>
          <p:cNvPr id="6" name="Textfeld 5"/>
          <p:cNvSpPr txBox="1"/>
          <p:nvPr/>
        </p:nvSpPr>
        <p:spPr>
          <a:xfrm>
            <a:off x="6912694" y="3933056"/>
            <a:ext cx="3960440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800" b="1" dirty="0"/>
              <a:t>130 </a:t>
            </a:r>
            <a:r>
              <a:rPr lang="en-US" sz="1800" b="1" dirty="0" smtClean="0"/>
              <a:t>data providers and experts </a:t>
            </a:r>
          </a:p>
          <a:p>
            <a:pPr algn="ctr"/>
            <a:r>
              <a:rPr lang="en-US" sz="1800" dirty="0" smtClean="0"/>
              <a:t>involved </a:t>
            </a:r>
            <a:r>
              <a:rPr lang="en-US" sz="1800" dirty="0"/>
              <a:t>so far 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6480646" y="1196752"/>
            <a:ext cx="4896544" cy="10081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altLang="en-US" sz="1800" dirty="0" smtClean="0">
                <a:latin typeface="Arial"/>
                <a:cs typeface="Arial" panose="020B0604020202020204" pitchFamily="34" charset="0"/>
              </a:rPr>
              <a:t>Data on </a:t>
            </a:r>
            <a:r>
              <a:rPr lang="en-GB" altLang="en-US" sz="1800" b="1" dirty="0" smtClean="0">
                <a:latin typeface="Arial"/>
                <a:cs typeface="Arial" panose="020B0604020202020204" pitchFamily="34" charset="0"/>
              </a:rPr>
              <a:t>Quality </a:t>
            </a:r>
            <a:r>
              <a:rPr lang="en-GB" altLang="en-US" sz="1800" b="1" dirty="0">
                <a:latin typeface="Arial"/>
                <a:cs typeface="Arial" panose="020B0604020202020204" pitchFamily="34" charset="0"/>
              </a:rPr>
              <a:t>of </a:t>
            </a:r>
            <a:r>
              <a:rPr lang="en-GB" altLang="en-US" sz="1800" b="1" dirty="0" smtClean="0">
                <a:latin typeface="Arial"/>
                <a:cs typeface="Arial" panose="020B0604020202020204" pitchFamily="34" charset="0"/>
              </a:rPr>
              <a:t>Service </a:t>
            </a:r>
            <a:r>
              <a:rPr lang="en-GB" altLang="en-US" sz="1800" b="1" dirty="0">
                <a:latin typeface="Arial"/>
                <a:cs typeface="Arial" panose="020B0604020202020204" pitchFamily="34" charset="0"/>
              </a:rPr>
              <a:t>(</a:t>
            </a:r>
            <a:r>
              <a:rPr lang="en-GB" altLang="en-US" sz="1800" b="1" dirty="0" err="1">
                <a:latin typeface="Arial"/>
                <a:cs typeface="Arial" panose="020B0604020202020204" pitchFamily="34" charset="0"/>
              </a:rPr>
              <a:t>QoS</a:t>
            </a:r>
            <a:r>
              <a:rPr lang="en-GB" altLang="en-US" sz="1800" b="1" dirty="0">
                <a:latin typeface="Arial"/>
                <a:cs typeface="Arial" panose="020B0604020202020204" pitchFamily="34" charset="0"/>
              </a:rPr>
              <a:t>) </a:t>
            </a:r>
            <a:endParaRPr lang="en-GB" altLang="en-US" sz="1800" b="1" dirty="0" smtClean="0">
              <a:latin typeface="Arial"/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altLang="en-US" sz="1800" b="1" dirty="0" smtClean="0">
                <a:latin typeface="Arial"/>
                <a:cs typeface="Arial" panose="020B0604020202020204" pitchFamily="34" charset="0"/>
              </a:rPr>
              <a:t>and Quality </a:t>
            </a:r>
            <a:r>
              <a:rPr lang="en-GB" altLang="en-US" sz="1800" b="1" dirty="0">
                <a:latin typeface="Arial"/>
                <a:cs typeface="Arial" panose="020B0604020202020204" pitchFamily="34" charset="0"/>
              </a:rPr>
              <a:t>of </a:t>
            </a:r>
            <a:r>
              <a:rPr lang="en-GB" altLang="en-US" sz="1800" b="1" dirty="0" smtClean="0">
                <a:latin typeface="Arial"/>
                <a:cs typeface="Arial" panose="020B0604020202020204" pitchFamily="34" charset="0"/>
              </a:rPr>
              <a:t>Experience </a:t>
            </a:r>
            <a:r>
              <a:rPr lang="en-GB" altLang="en-US" sz="1800" b="1" dirty="0">
                <a:latin typeface="Arial"/>
                <a:cs typeface="Arial" panose="020B0604020202020204" pitchFamily="34" charset="0"/>
              </a:rPr>
              <a:t>(</a:t>
            </a:r>
            <a:r>
              <a:rPr lang="en-GB" altLang="en-US" sz="1800" b="1" dirty="0" err="1">
                <a:latin typeface="Arial"/>
                <a:cs typeface="Arial" panose="020B0604020202020204" pitchFamily="34" charset="0"/>
              </a:rPr>
              <a:t>QoE</a:t>
            </a:r>
            <a:r>
              <a:rPr lang="en-GB" altLang="en-US" sz="1800" b="1" dirty="0">
                <a:latin typeface="Arial"/>
                <a:cs typeface="Arial" panose="020B0604020202020204" pitchFamily="34" charset="0"/>
              </a:rPr>
              <a:t>) </a:t>
            </a:r>
            <a:endParaRPr lang="en-GB" altLang="en-US" sz="1800" b="1" dirty="0" smtClean="0">
              <a:latin typeface="Arial"/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altLang="en-US" sz="1800" b="1" dirty="0" smtClean="0">
                <a:latin typeface="Arial"/>
                <a:cs typeface="Arial" panose="020B0604020202020204" pitchFamily="34" charset="0"/>
              </a:rPr>
              <a:t>on broadband connectivity</a:t>
            </a:r>
            <a:endParaRPr lang="en-GB" altLang="en-US" sz="1800" dirty="0">
              <a:latin typeface="Arial"/>
              <a:cs typeface="Arial" panose="020B0604020202020204" pitchFamily="34" charset="0"/>
            </a:endParaRPr>
          </a:p>
        </p:txBody>
      </p:sp>
      <p:pic>
        <p:nvPicPr>
          <p:cNvPr id="1034" name="Picture 10" descr="http://s2.thingpic.com/images/SW/ieQT2MM1gk7Ac3b21zMpeLRj.jpeg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2238" y="2305983"/>
            <a:ext cx="1841958" cy="1061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emailbaazar.com/wp-content/uploads/2015/11/database_development-1.png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9251" y="2337789"/>
            <a:ext cx="1356508" cy="1017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feld 50"/>
          <p:cNvSpPr txBox="1"/>
          <p:nvPr/>
        </p:nvSpPr>
        <p:spPr>
          <a:xfrm>
            <a:off x="1296070" y="1196752"/>
            <a:ext cx="4464496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altLang="en-US" sz="1800" dirty="0">
                <a:latin typeface="Arial"/>
                <a:cs typeface="Arial" panose="020B0604020202020204" pitchFamily="34" charset="0"/>
              </a:rPr>
              <a:t>Development of </a:t>
            </a:r>
            <a:r>
              <a:rPr lang="en-GB" altLang="en-US" sz="1800" dirty="0" smtClean="0">
                <a:latin typeface="Arial"/>
                <a:cs typeface="Arial" panose="020B0604020202020204" pitchFamily="34" charset="0"/>
              </a:rPr>
              <a:t>first 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altLang="en-US" sz="1800" b="1" dirty="0" smtClean="0">
                <a:latin typeface="Arial"/>
                <a:cs typeface="Arial" panose="020B0604020202020204" pitchFamily="34" charset="0"/>
              </a:rPr>
              <a:t>European-wide i</a:t>
            </a:r>
            <a:r>
              <a:rPr lang="en-GB" sz="1800" b="1" dirty="0" smtClean="0">
                <a:latin typeface="Arial"/>
                <a:cs typeface="Arial" panose="020B0604020202020204" pitchFamily="34" charset="0"/>
              </a:rPr>
              <a:t>nteractive mapping </a:t>
            </a:r>
            <a:r>
              <a:rPr lang="en-GB" sz="1800" b="1" dirty="0">
                <a:latin typeface="Arial"/>
                <a:cs typeface="Arial" panose="020B0604020202020204" pitchFamily="34" charset="0"/>
              </a:rPr>
              <a:t>p</a:t>
            </a:r>
            <a:r>
              <a:rPr lang="de-DE" sz="1800" b="1" dirty="0" err="1">
                <a:latin typeface="Arial"/>
              </a:rPr>
              <a:t>latform</a:t>
            </a:r>
            <a:r>
              <a:rPr lang="de-DE" sz="1800" b="1" dirty="0">
                <a:latin typeface="Arial"/>
              </a:rPr>
              <a:t> </a:t>
            </a:r>
            <a:r>
              <a:rPr lang="de-DE" sz="1800" b="1" dirty="0" err="1">
                <a:latin typeface="Arial"/>
              </a:rPr>
              <a:t>and</a:t>
            </a:r>
            <a:r>
              <a:rPr lang="de-DE" sz="1800" b="1" dirty="0">
                <a:latin typeface="Arial"/>
              </a:rPr>
              <a:t> </a:t>
            </a:r>
            <a:r>
              <a:rPr lang="de-DE" sz="1800" b="1" dirty="0" err="1" smtClean="0">
                <a:latin typeface="Arial"/>
              </a:rPr>
              <a:t>database</a:t>
            </a:r>
            <a:endParaRPr lang="de-DE" sz="1800" b="1" dirty="0">
              <a:latin typeface="Arial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6593" y="4723700"/>
            <a:ext cx="1421825" cy="1130548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5" name="Textfeld 44"/>
          <p:cNvSpPr txBox="1"/>
          <p:nvPr/>
        </p:nvSpPr>
        <p:spPr>
          <a:xfrm>
            <a:off x="1224062" y="3861048"/>
            <a:ext cx="4464496" cy="4320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800" dirty="0" smtClean="0">
                <a:latin typeface="Arial"/>
                <a:cs typeface="Arial" panose="020B0604020202020204" pitchFamily="34" charset="0"/>
              </a:rPr>
              <a:t>Data </a:t>
            </a:r>
            <a:r>
              <a:rPr lang="de-DE" sz="1800" dirty="0" err="1" smtClean="0">
                <a:latin typeface="Arial"/>
                <a:cs typeface="Arial" panose="020B0604020202020204" pitchFamily="34" charset="0"/>
              </a:rPr>
              <a:t>feeds</a:t>
            </a:r>
            <a:r>
              <a:rPr lang="de-DE" sz="1800" dirty="0" smtClean="0">
                <a:latin typeface="Arial"/>
                <a:cs typeface="Arial" panose="020B0604020202020204" pitchFamily="34" charset="0"/>
              </a:rPr>
              <a:t> </a:t>
            </a:r>
            <a:r>
              <a:rPr lang="de-DE" sz="1800" dirty="0" err="1" smtClean="0">
                <a:latin typeface="Arial"/>
                <a:cs typeface="Arial" panose="020B0604020202020204" pitchFamily="34" charset="0"/>
              </a:rPr>
              <a:t>from</a:t>
            </a:r>
            <a:r>
              <a:rPr lang="de-DE" sz="1800" dirty="0" smtClean="0">
                <a:latin typeface="Arial"/>
                <a:cs typeface="Arial" panose="020B0604020202020204" pitchFamily="34" charset="0"/>
              </a:rPr>
              <a:t> 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800" b="1" dirty="0" err="1" smtClean="0">
                <a:latin typeface="Arial"/>
                <a:cs typeface="Arial" panose="020B0604020202020204" pitchFamily="34" charset="0"/>
              </a:rPr>
              <a:t>existing</a:t>
            </a:r>
            <a:r>
              <a:rPr lang="de-DE" sz="1800" b="1" dirty="0" smtClean="0">
                <a:latin typeface="Arial"/>
                <a:cs typeface="Arial" panose="020B0604020202020204" pitchFamily="34" charset="0"/>
              </a:rPr>
              <a:t> </a:t>
            </a:r>
            <a:r>
              <a:rPr lang="de-DE" sz="1800" b="1" dirty="0" err="1" smtClean="0">
                <a:latin typeface="Arial"/>
                <a:cs typeface="Arial" panose="020B0604020202020204" pitchFamily="34" charset="0"/>
              </a:rPr>
              <a:t>public</a:t>
            </a:r>
            <a:r>
              <a:rPr lang="de-DE" sz="1800" b="1" dirty="0" smtClean="0">
                <a:latin typeface="Arial"/>
                <a:cs typeface="Arial" panose="020B0604020202020204" pitchFamily="34" charset="0"/>
              </a:rPr>
              <a:t> </a:t>
            </a:r>
            <a:r>
              <a:rPr lang="de-DE" sz="1800" b="1" dirty="0" err="1" smtClean="0">
                <a:latin typeface="Arial"/>
                <a:cs typeface="Arial" panose="020B0604020202020204" pitchFamily="34" charset="0"/>
              </a:rPr>
              <a:t>and</a:t>
            </a:r>
            <a:r>
              <a:rPr lang="de-DE" sz="1800" b="1" dirty="0" smtClean="0">
                <a:latin typeface="Arial"/>
                <a:cs typeface="Arial" panose="020B0604020202020204" pitchFamily="34" charset="0"/>
              </a:rPr>
              <a:t> private initiatives</a:t>
            </a:r>
            <a:endParaRPr lang="de-DE" sz="1800" b="1" dirty="0">
              <a:latin typeface="Arial"/>
              <a:cs typeface="Arial" panose="020B0604020202020204" pitchFamily="34" charset="0"/>
            </a:endParaRPr>
          </a:p>
        </p:txBody>
      </p:sp>
      <p:cxnSp>
        <p:nvCxnSpPr>
          <p:cNvPr id="62" name="Straight Connector 6"/>
          <p:cNvCxnSpPr/>
          <p:nvPr/>
        </p:nvCxnSpPr>
        <p:spPr bwMode="auto">
          <a:xfrm>
            <a:off x="6125362" y="1206515"/>
            <a:ext cx="0" cy="464773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Dot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Straight Connector 6"/>
          <p:cNvCxnSpPr/>
          <p:nvPr/>
        </p:nvCxnSpPr>
        <p:spPr bwMode="auto">
          <a:xfrm flipH="1" flipV="1">
            <a:off x="720006" y="3520619"/>
            <a:ext cx="10800482" cy="9762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Dot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56464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3" grpId="0"/>
      <p:bldP spid="51" grpId="0"/>
      <p:bldP spid="4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What</a:t>
            </a:r>
            <a:r>
              <a:rPr lang="de-DE" b="1" dirty="0" smtClean="0"/>
              <a:t> </a:t>
            </a:r>
            <a:r>
              <a:rPr lang="de-DE" b="1" dirty="0" err="1" smtClean="0"/>
              <a:t>is</a:t>
            </a:r>
            <a:r>
              <a:rPr lang="de-DE" b="1" dirty="0" smtClean="0"/>
              <a:t> the </a:t>
            </a:r>
            <a:r>
              <a:rPr lang="de-DE" b="1" dirty="0" err="1" smtClean="0"/>
              <a:t>scope</a:t>
            </a:r>
            <a:r>
              <a:rPr lang="de-DE" b="1" dirty="0" smtClean="0"/>
              <a:t> </a:t>
            </a:r>
            <a:r>
              <a:rPr lang="de-DE" b="1" dirty="0" err="1" smtClean="0"/>
              <a:t>of</a:t>
            </a:r>
            <a:r>
              <a:rPr lang="de-DE" b="1" dirty="0" smtClean="0"/>
              <a:t> the </a:t>
            </a:r>
            <a:r>
              <a:rPr lang="de-DE" b="1" dirty="0" err="1" smtClean="0"/>
              <a:t>project</a:t>
            </a:r>
            <a:r>
              <a:rPr lang="de-DE" b="1" dirty="0" smtClean="0"/>
              <a:t>?</a:t>
            </a:r>
            <a:endParaRPr lang="de-DE" b="1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pic>
        <p:nvPicPr>
          <p:cNvPr id="189" name="Picture 2" descr="http://www.statetechmagazine.com/sites/default/files/articles/NEW-boston-open-data_0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1500"/>
                    </a14:imgEffect>
                    <a14:imgEffect>
                      <a14:saturation sat="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138" y="3645024"/>
            <a:ext cx="4321347" cy="2664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0" name="Textfeld 189"/>
          <p:cNvSpPr txBox="1"/>
          <p:nvPr/>
        </p:nvSpPr>
        <p:spPr>
          <a:xfrm>
            <a:off x="792014" y="3717032"/>
            <a:ext cx="1875812" cy="12241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500" b="1" dirty="0" err="1" smtClean="0"/>
              <a:t>Crowdsourcing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tools</a:t>
            </a:r>
            <a:r>
              <a:rPr lang="de-DE" sz="1500" b="1" dirty="0" smtClean="0"/>
              <a:t>: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/>
              <a:t>Akamai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 smtClean="0"/>
              <a:t>M-Lab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 err="1" smtClean="0"/>
              <a:t>Netradar</a:t>
            </a:r>
            <a:endParaRPr lang="en-GB" sz="1500" dirty="0"/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 err="1" smtClean="0"/>
              <a:t>Opensignal</a:t>
            </a:r>
            <a:endParaRPr lang="de-DE" sz="1500" dirty="0" smtClean="0"/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 err="1" smtClean="0"/>
              <a:t>netBravo</a:t>
            </a:r>
            <a:endParaRPr lang="de-DE" sz="1500" dirty="0" smtClean="0"/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 smtClean="0"/>
              <a:t>RIPE Atlas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 err="1" smtClean="0"/>
              <a:t>Cedexis</a:t>
            </a:r>
            <a:endParaRPr lang="de-DE" sz="1500" dirty="0" smtClean="0"/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 err="1" smtClean="0"/>
              <a:t>Apteligent</a:t>
            </a:r>
            <a:r>
              <a:rPr lang="de-DE" sz="1500" dirty="0" smtClean="0"/>
              <a:t> / </a:t>
            </a:r>
            <a:r>
              <a:rPr lang="de-DE" sz="1500" dirty="0" err="1" smtClean="0"/>
              <a:t>MobiNEX</a:t>
            </a:r>
            <a:endParaRPr lang="de-DE" sz="1500" dirty="0" smtClean="0"/>
          </a:p>
          <a:p>
            <a:pPr marL="85725" indent="-85725">
              <a:buFont typeface="Arial" panose="020B0604020202020204" pitchFamily="34" charset="0"/>
              <a:buChar char="•"/>
            </a:pPr>
            <a:endParaRPr lang="de-DE" sz="1500" dirty="0" smtClean="0"/>
          </a:p>
        </p:txBody>
      </p:sp>
      <p:sp>
        <p:nvSpPr>
          <p:cNvPr id="221" name="Textfeld 220"/>
          <p:cNvSpPr txBox="1"/>
          <p:nvPr/>
        </p:nvSpPr>
        <p:spPr>
          <a:xfrm>
            <a:off x="2771061" y="3717032"/>
            <a:ext cx="2269423" cy="19442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500" b="1" dirty="0" smtClean="0"/>
              <a:t>Public </a:t>
            </a:r>
            <a:r>
              <a:rPr lang="de-DE" sz="1500" b="1" dirty="0" err="1" smtClean="0"/>
              <a:t>funded</a:t>
            </a:r>
            <a:r>
              <a:rPr lang="de-DE" sz="1500" b="1" dirty="0" smtClean="0"/>
              <a:t> private initiatives (EU </a:t>
            </a:r>
            <a:r>
              <a:rPr lang="de-DE" sz="1500" b="1" dirty="0" err="1" smtClean="0"/>
              <a:t>or</a:t>
            </a:r>
            <a:r>
              <a:rPr lang="de-DE" sz="1500" b="1" dirty="0" smtClean="0"/>
              <a:t> </a:t>
            </a:r>
            <a:r>
              <a:rPr lang="de-DE" sz="1500" b="1" dirty="0" err="1" smtClean="0"/>
              <a:t>state</a:t>
            </a:r>
            <a:r>
              <a:rPr lang="de-DE" sz="1500" b="1" dirty="0" smtClean="0"/>
              <a:t>):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 err="1" smtClean="0"/>
              <a:t>SamKnows</a:t>
            </a:r>
            <a:r>
              <a:rPr lang="de-DE" sz="1500" dirty="0" smtClean="0"/>
              <a:t> 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 smtClean="0"/>
              <a:t>MONROE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 err="1" smtClean="0"/>
              <a:t>perfSONAR</a:t>
            </a:r>
            <a:endParaRPr lang="de-DE" sz="1500" dirty="0" smtClean="0"/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 smtClean="0"/>
              <a:t>LEONE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 smtClean="0"/>
              <a:t>VIRGO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de-DE" sz="1500" dirty="0" err="1" smtClean="0"/>
              <a:t>mPlane</a:t>
            </a:r>
            <a:endParaRPr lang="de-DE" sz="1500" dirty="0"/>
          </a:p>
          <a:p>
            <a:endParaRPr lang="de-DE" sz="1500" dirty="0" smtClean="0"/>
          </a:p>
        </p:txBody>
      </p:sp>
      <p:grpSp>
        <p:nvGrpSpPr>
          <p:cNvPr id="187" name="Gruppieren 186"/>
          <p:cNvGrpSpPr/>
          <p:nvPr/>
        </p:nvGrpSpPr>
        <p:grpSpPr>
          <a:xfrm>
            <a:off x="1468309" y="1196752"/>
            <a:ext cx="2218168" cy="2160240"/>
            <a:chOff x="1110445" y="1434574"/>
            <a:chExt cx="1430407" cy="1698819"/>
          </a:xfrm>
        </p:grpSpPr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110445" y="2626218"/>
              <a:ext cx="155530" cy="228156"/>
            </a:xfrm>
            <a:custGeom>
              <a:avLst/>
              <a:gdLst>
                <a:gd name="T0" fmla="*/ 130 w 226"/>
                <a:gd name="T1" fmla="*/ 0 h 314"/>
                <a:gd name="T2" fmla="*/ 142 w 226"/>
                <a:gd name="T3" fmla="*/ 26 h 314"/>
                <a:gd name="T4" fmla="*/ 154 w 226"/>
                <a:gd name="T5" fmla="*/ 26 h 314"/>
                <a:gd name="T6" fmla="*/ 188 w 226"/>
                <a:gd name="T7" fmla="*/ 32 h 314"/>
                <a:gd name="T8" fmla="*/ 206 w 226"/>
                <a:gd name="T9" fmla="*/ 40 h 314"/>
                <a:gd name="T10" fmla="*/ 220 w 226"/>
                <a:gd name="T11" fmla="*/ 64 h 314"/>
                <a:gd name="T12" fmla="*/ 222 w 226"/>
                <a:gd name="T13" fmla="*/ 74 h 314"/>
                <a:gd name="T14" fmla="*/ 182 w 226"/>
                <a:gd name="T15" fmla="*/ 90 h 314"/>
                <a:gd name="T16" fmla="*/ 170 w 226"/>
                <a:gd name="T17" fmla="*/ 120 h 314"/>
                <a:gd name="T18" fmla="*/ 158 w 226"/>
                <a:gd name="T19" fmla="*/ 146 h 314"/>
                <a:gd name="T20" fmla="*/ 150 w 226"/>
                <a:gd name="T21" fmla="*/ 168 h 314"/>
                <a:gd name="T22" fmla="*/ 132 w 226"/>
                <a:gd name="T23" fmla="*/ 162 h 314"/>
                <a:gd name="T24" fmla="*/ 128 w 226"/>
                <a:gd name="T25" fmla="*/ 184 h 314"/>
                <a:gd name="T26" fmla="*/ 130 w 226"/>
                <a:gd name="T27" fmla="*/ 206 h 314"/>
                <a:gd name="T28" fmla="*/ 114 w 226"/>
                <a:gd name="T29" fmla="*/ 226 h 314"/>
                <a:gd name="T30" fmla="*/ 110 w 226"/>
                <a:gd name="T31" fmla="*/ 254 h 314"/>
                <a:gd name="T32" fmla="*/ 114 w 226"/>
                <a:gd name="T33" fmla="*/ 272 h 314"/>
                <a:gd name="T34" fmla="*/ 84 w 226"/>
                <a:gd name="T35" fmla="*/ 286 h 314"/>
                <a:gd name="T36" fmla="*/ 84 w 226"/>
                <a:gd name="T37" fmla="*/ 310 h 314"/>
                <a:gd name="T38" fmla="*/ 42 w 226"/>
                <a:gd name="T39" fmla="*/ 314 h 314"/>
                <a:gd name="T40" fmla="*/ 12 w 226"/>
                <a:gd name="T41" fmla="*/ 292 h 314"/>
                <a:gd name="T42" fmla="*/ 0 w 226"/>
                <a:gd name="T43" fmla="*/ 284 h 314"/>
                <a:gd name="T44" fmla="*/ 16 w 226"/>
                <a:gd name="T45" fmla="*/ 260 h 314"/>
                <a:gd name="T46" fmla="*/ 34 w 226"/>
                <a:gd name="T47" fmla="*/ 226 h 314"/>
                <a:gd name="T48" fmla="*/ 32 w 226"/>
                <a:gd name="T49" fmla="*/ 206 h 314"/>
                <a:gd name="T50" fmla="*/ 22 w 226"/>
                <a:gd name="T51" fmla="*/ 196 h 314"/>
                <a:gd name="T52" fmla="*/ 38 w 226"/>
                <a:gd name="T53" fmla="*/ 180 h 314"/>
                <a:gd name="T54" fmla="*/ 16 w 226"/>
                <a:gd name="T55" fmla="*/ 184 h 314"/>
                <a:gd name="T56" fmla="*/ 22 w 226"/>
                <a:gd name="T57" fmla="*/ 162 h 314"/>
                <a:gd name="T58" fmla="*/ 30 w 226"/>
                <a:gd name="T59" fmla="*/ 144 h 314"/>
                <a:gd name="T60" fmla="*/ 38 w 226"/>
                <a:gd name="T61" fmla="*/ 134 h 314"/>
                <a:gd name="T62" fmla="*/ 60 w 226"/>
                <a:gd name="T63" fmla="*/ 120 h 314"/>
                <a:gd name="T64" fmla="*/ 88 w 226"/>
                <a:gd name="T65" fmla="*/ 82 h 314"/>
                <a:gd name="T66" fmla="*/ 100 w 226"/>
                <a:gd name="T67" fmla="*/ 56 h 314"/>
                <a:gd name="T68" fmla="*/ 108 w 226"/>
                <a:gd name="T69" fmla="*/ 26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6" h="314">
                  <a:moveTo>
                    <a:pt x="114" y="2"/>
                  </a:moveTo>
                  <a:lnTo>
                    <a:pt x="130" y="0"/>
                  </a:lnTo>
                  <a:lnTo>
                    <a:pt x="140" y="12"/>
                  </a:lnTo>
                  <a:lnTo>
                    <a:pt x="142" y="26"/>
                  </a:lnTo>
                  <a:lnTo>
                    <a:pt x="146" y="28"/>
                  </a:lnTo>
                  <a:lnTo>
                    <a:pt x="154" y="26"/>
                  </a:lnTo>
                  <a:lnTo>
                    <a:pt x="180" y="36"/>
                  </a:lnTo>
                  <a:lnTo>
                    <a:pt x="188" y="32"/>
                  </a:lnTo>
                  <a:lnTo>
                    <a:pt x="198" y="30"/>
                  </a:lnTo>
                  <a:lnTo>
                    <a:pt x="206" y="40"/>
                  </a:lnTo>
                  <a:lnTo>
                    <a:pt x="212" y="54"/>
                  </a:lnTo>
                  <a:lnTo>
                    <a:pt x="220" y="64"/>
                  </a:lnTo>
                  <a:lnTo>
                    <a:pt x="226" y="68"/>
                  </a:lnTo>
                  <a:lnTo>
                    <a:pt x="222" y="74"/>
                  </a:lnTo>
                  <a:lnTo>
                    <a:pt x="204" y="78"/>
                  </a:lnTo>
                  <a:lnTo>
                    <a:pt x="182" y="90"/>
                  </a:lnTo>
                  <a:lnTo>
                    <a:pt x="182" y="110"/>
                  </a:lnTo>
                  <a:lnTo>
                    <a:pt x="170" y="120"/>
                  </a:lnTo>
                  <a:lnTo>
                    <a:pt x="160" y="128"/>
                  </a:lnTo>
                  <a:lnTo>
                    <a:pt x="158" y="146"/>
                  </a:lnTo>
                  <a:lnTo>
                    <a:pt x="158" y="160"/>
                  </a:lnTo>
                  <a:lnTo>
                    <a:pt x="150" y="168"/>
                  </a:lnTo>
                  <a:lnTo>
                    <a:pt x="144" y="160"/>
                  </a:lnTo>
                  <a:lnTo>
                    <a:pt x="132" y="162"/>
                  </a:lnTo>
                  <a:lnTo>
                    <a:pt x="130" y="168"/>
                  </a:lnTo>
                  <a:lnTo>
                    <a:pt x="128" y="184"/>
                  </a:lnTo>
                  <a:lnTo>
                    <a:pt x="132" y="190"/>
                  </a:lnTo>
                  <a:lnTo>
                    <a:pt x="130" y="206"/>
                  </a:lnTo>
                  <a:lnTo>
                    <a:pt x="122" y="214"/>
                  </a:lnTo>
                  <a:lnTo>
                    <a:pt x="114" y="226"/>
                  </a:lnTo>
                  <a:lnTo>
                    <a:pt x="108" y="236"/>
                  </a:lnTo>
                  <a:lnTo>
                    <a:pt x="110" y="254"/>
                  </a:lnTo>
                  <a:lnTo>
                    <a:pt x="118" y="266"/>
                  </a:lnTo>
                  <a:lnTo>
                    <a:pt x="114" y="272"/>
                  </a:lnTo>
                  <a:lnTo>
                    <a:pt x="92" y="278"/>
                  </a:lnTo>
                  <a:lnTo>
                    <a:pt x="84" y="286"/>
                  </a:lnTo>
                  <a:lnTo>
                    <a:pt x="84" y="294"/>
                  </a:lnTo>
                  <a:lnTo>
                    <a:pt x="84" y="310"/>
                  </a:lnTo>
                  <a:lnTo>
                    <a:pt x="60" y="310"/>
                  </a:lnTo>
                  <a:lnTo>
                    <a:pt x="42" y="314"/>
                  </a:lnTo>
                  <a:lnTo>
                    <a:pt x="24" y="292"/>
                  </a:lnTo>
                  <a:lnTo>
                    <a:pt x="12" y="292"/>
                  </a:lnTo>
                  <a:lnTo>
                    <a:pt x="4" y="292"/>
                  </a:lnTo>
                  <a:lnTo>
                    <a:pt x="0" y="284"/>
                  </a:lnTo>
                  <a:lnTo>
                    <a:pt x="4" y="276"/>
                  </a:lnTo>
                  <a:lnTo>
                    <a:pt x="16" y="260"/>
                  </a:lnTo>
                  <a:lnTo>
                    <a:pt x="22" y="244"/>
                  </a:lnTo>
                  <a:lnTo>
                    <a:pt x="34" y="226"/>
                  </a:lnTo>
                  <a:lnTo>
                    <a:pt x="38" y="214"/>
                  </a:lnTo>
                  <a:lnTo>
                    <a:pt x="32" y="206"/>
                  </a:lnTo>
                  <a:lnTo>
                    <a:pt x="24" y="200"/>
                  </a:lnTo>
                  <a:lnTo>
                    <a:pt x="22" y="196"/>
                  </a:lnTo>
                  <a:lnTo>
                    <a:pt x="32" y="192"/>
                  </a:lnTo>
                  <a:lnTo>
                    <a:pt x="38" y="180"/>
                  </a:lnTo>
                  <a:lnTo>
                    <a:pt x="26" y="178"/>
                  </a:lnTo>
                  <a:lnTo>
                    <a:pt x="16" y="184"/>
                  </a:lnTo>
                  <a:lnTo>
                    <a:pt x="16" y="170"/>
                  </a:lnTo>
                  <a:lnTo>
                    <a:pt x="22" y="162"/>
                  </a:lnTo>
                  <a:lnTo>
                    <a:pt x="26" y="154"/>
                  </a:lnTo>
                  <a:lnTo>
                    <a:pt x="30" y="144"/>
                  </a:lnTo>
                  <a:lnTo>
                    <a:pt x="32" y="136"/>
                  </a:lnTo>
                  <a:lnTo>
                    <a:pt x="38" y="134"/>
                  </a:lnTo>
                  <a:lnTo>
                    <a:pt x="46" y="138"/>
                  </a:lnTo>
                  <a:lnTo>
                    <a:pt x="60" y="120"/>
                  </a:lnTo>
                  <a:lnTo>
                    <a:pt x="68" y="106"/>
                  </a:lnTo>
                  <a:lnTo>
                    <a:pt x="88" y="82"/>
                  </a:lnTo>
                  <a:lnTo>
                    <a:pt x="88" y="72"/>
                  </a:lnTo>
                  <a:lnTo>
                    <a:pt x="100" y="56"/>
                  </a:lnTo>
                  <a:lnTo>
                    <a:pt x="102" y="36"/>
                  </a:lnTo>
                  <a:lnTo>
                    <a:pt x="108" y="26"/>
                  </a:lnTo>
                  <a:lnTo>
                    <a:pt x="114" y="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1110445" y="2626218"/>
              <a:ext cx="155530" cy="228156"/>
            </a:xfrm>
            <a:custGeom>
              <a:avLst/>
              <a:gdLst>
                <a:gd name="T0" fmla="*/ 130 w 226"/>
                <a:gd name="T1" fmla="*/ 0 h 314"/>
                <a:gd name="T2" fmla="*/ 142 w 226"/>
                <a:gd name="T3" fmla="*/ 26 h 314"/>
                <a:gd name="T4" fmla="*/ 154 w 226"/>
                <a:gd name="T5" fmla="*/ 26 h 314"/>
                <a:gd name="T6" fmla="*/ 188 w 226"/>
                <a:gd name="T7" fmla="*/ 32 h 314"/>
                <a:gd name="T8" fmla="*/ 206 w 226"/>
                <a:gd name="T9" fmla="*/ 40 h 314"/>
                <a:gd name="T10" fmla="*/ 220 w 226"/>
                <a:gd name="T11" fmla="*/ 64 h 314"/>
                <a:gd name="T12" fmla="*/ 222 w 226"/>
                <a:gd name="T13" fmla="*/ 74 h 314"/>
                <a:gd name="T14" fmla="*/ 182 w 226"/>
                <a:gd name="T15" fmla="*/ 90 h 314"/>
                <a:gd name="T16" fmla="*/ 170 w 226"/>
                <a:gd name="T17" fmla="*/ 120 h 314"/>
                <a:gd name="T18" fmla="*/ 158 w 226"/>
                <a:gd name="T19" fmla="*/ 146 h 314"/>
                <a:gd name="T20" fmla="*/ 150 w 226"/>
                <a:gd name="T21" fmla="*/ 168 h 314"/>
                <a:gd name="T22" fmla="*/ 132 w 226"/>
                <a:gd name="T23" fmla="*/ 162 h 314"/>
                <a:gd name="T24" fmla="*/ 128 w 226"/>
                <a:gd name="T25" fmla="*/ 184 h 314"/>
                <a:gd name="T26" fmla="*/ 130 w 226"/>
                <a:gd name="T27" fmla="*/ 206 h 314"/>
                <a:gd name="T28" fmla="*/ 114 w 226"/>
                <a:gd name="T29" fmla="*/ 226 h 314"/>
                <a:gd name="T30" fmla="*/ 110 w 226"/>
                <a:gd name="T31" fmla="*/ 254 h 314"/>
                <a:gd name="T32" fmla="*/ 114 w 226"/>
                <a:gd name="T33" fmla="*/ 272 h 314"/>
                <a:gd name="T34" fmla="*/ 84 w 226"/>
                <a:gd name="T35" fmla="*/ 286 h 314"/>
                <a:gd name="T36" fmla="*/ 84 w 226"/>
                <a:gd name="T37" fmla="*/ 310 h 314"/>
                <a:gd name="T38" fmla="*/ 42 w 226"/>
                <a:gd name="T39" fmla="*/ 314 h 314"/>
                <a:gd name="T40" fmla="*/ 12 w 226"/>
                <a:gd name="T41" fmla="*/ 292 h 314"/>
                <a:gd name="T42" fmla="*/ 0 w 226"/>
                <a:gd name="T43" fmla="*/ 284 h 314"/>
                <a:gd name="T44" fmla="*/ 16 w 226"/>
                <a:gd name="T45" fmla="*/ 260 h 314"/>
                <a:gd name="T46" fmla="*/ 34 w 226"/>
                <a:gd name="T47" fmla="*/ 226 h 314"/>
                <a:gd name="T48" fmla="*/ 32 w 226"/>
                <a:gd name="T49" fmla="*/ 206 h 314"/>
                <a:gd name="T50" fmla="*/ 22 w 226"/>
                <a:gd name="T51" fmla="*/ 196 h 314"/>
                <a:gd name="T52" fmla="*/ 38 w 226"/>
                <a:gd name="T53" fmla="*/ 180 h 314"/>
                <a:gd name="T54" fmla="*/ 16 w 226"/>
                <a:gd name="T55" fmla="*/ 184 h 314"/>
                <a:gd name="T56" fmla="*/ 22 w 226"/>
                <a:gd name="T57" fmla="*/ 162 h 314"/>
                <a:gd name="T58" fmla="*/ 30 w 226"/>
                <a:gd name="T59" fmla="*/ 144 h 314"/>
                <a:gd name="T60" fmla="*/ 38 w 226"/>
                <a:gd name="T61" fmla="*/ 134 h 314"/>
                <a:gd name="T62" fmla="*/ 60 w 226"/>
                <a:gd name="T63" fmla="*/ 120 h 314"/>
                <a:gd name="T64" fmla="*/ 88 w 226"/>
                <a:gd name="T65" fmla="*/ 82 h 314"/>
                <a:gd name="T66" fmla="*/ 100 w 226"/>
                <a:gd name="T67" fmla="*/ 56 h 314"/>
                <a:gd name="T68" fmla="*/ 108 w 226"/>
                <a:gd name="T69" fmla="*/ 26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6" h="314">
                  <a:moveTo>
                    <a:pt x="114" y="2"/>
                  </a:moveTo>
                  <a:lnTo>
                    <a:pt x="130" y="0"/>
                  </a:lnTo>
                  <a:lnTo>
                    <a:pt x="140" y="12"/>
                  </a:lnTo>
                  <a:lnTo>
                    <a:pt x="142" y="26"/>
                  </a:lnTo>
                  <a:lnTo>
                    <a:pt x="146" y="28"/>
                  </a:lnTo>
                  <a:lnTo>
                    <a:pt x="154" y="26"/>
                  </a:lnTo>
                  <a:lnTo>
                    <a:pt x="180" y="36"/>
                  </a:lnTo>
                  <a:lnTo>
                    <a:pt x="188" y="32"/>
                  </a:lnTo>
                  <a:lnTo>
                    <a:pt x="198" y="30"/>
                  </a:lnTo>
                  <a:lnTo>
                    <a:pt x="206" y="40"/>
                  </a:lnTo>
                  <a:lnTo>
                    <a:pt x="212" y="54"/>
                  </a:lnTo>
                  <a:lnTo>
                    <a:pt x="220" y="64"/>
                  </a:lnTo>
                  <a:lnTo>
                    <a:pt x="226" y="68"/>
                  </a:lnTo>
                  <a:lnTo>
                    <a:pt x="222" y="74"/>
                  </a:lnTo>
                  <a:lnTo>
                    <a:pt x="204" y="78"/>
                  </a:lnTo>
                  <a:lnTo>
                    <a:pt x="182" y="90"/>
                  </a:lnTo>
                  <a:lnTo>
                    <a:pt x="182" y="110"/>
                  </a:lnTo>
                  <a:lnTo>
                    <a:pt x="170" y="120"/>
                  </a:lnTo>
                  <a:lnTo>
                    <a:pt x="160" y="128"/>
                  </a:lnTo>
                  <a:lnTo>
                    <a:pt x="158" y="146"/>
                  </a:lnTo>
                  <a:lnTo>
                    <a:pt x="158" y="160"/>
                  </a:lnTo>
                  <a:lnTo>
                    <a:pt x="150" y="168"/>
                  </a:lnTo>
                  <a:lnTo>
                    <a:pt x="144" y="160"/>
                  </a:lnTo>
                  <a:lnTo>
                    <a:pt x="132" y="162"/>
                  </a:lnTo>
                  <a:lnTo>
                    <a:pt x="130" y="168"/>
                  </a:lnTo>
                  <a:lnTo>
                    <a:pt x="128" y="184"/>
                  </a:lnTo>
                  <a:lnTo>
                    <a:pt x="132" y="190"/>
                  </a:lnTo>
                  <a:lnTo>
                    <a:pt x="130" y="206"/>
                  </a:lnTo>
                  <a:lnTo>
                    <a:pt x="122" y="214"/>
                  </a:lnTo>
                  <a:lnTo>
                    <a:pt x="114" y="226"/>
                  </a:lnTo>
                  <a:lnTo>
                    <a:pt x="108" y="236"/>
                  </a:lnTo>
                  <a:lnTo>
                    <a:pt x="110" y="254"/>
                  </a:lnTo>
                  <a:lnTo>
                    <a:pt x="118" y="266"/>
                  </a:lnTo>
                  <a:lnTo>
                    <a:pt x="114" y="272"/>
                  </a:lnTo>
                  <a:lnTo>
                    <a:pt x="92" y="278"/>
                  </a:lnTo>
                  <a:lnTo>
                    <a:pt x="84" y="286"/>
                  </a:lnTo>
                  <a:lnTo>
                    <a:pt x="84" y="294"/>
                  </a:lnTo>
                  <a:lnTo>
                    <a:pt x="84" y="310"/>
                  </a:lnTo>
                  <a:lnTo>
                    <a:pt x="60" y="310"/>
                  </a:lnTo>
                  <a:lnTo>
                    <a:pt x="42" y="314"/>
                  </a:lnTo>
                  <a:lnTo>
                    <a:pt x="24" y="292"/>
                  </a:lnTo>
                  <a:lnTo>
                    <a:pt x="12" y="292"/>
                  </a:lnTo>
                  <a:lnTo>
                    <a:pt x="4" y="292"/>
                  </a:lnTo>
                  <a:lnTo>
                    <a:pt x="0" y="284"/>
                  </a:lnTo>
                  <a:lnTo>
                    <a:pt x="4" y="276"/>
                  </a:lnTo>
                  <a:lnTo>
                    <a:pt x="16" y="260"/>
                  </a:lnTo>
                  <a:lnTo>
                    <a:pt x="22" y="244"/>
                  </a:lnTo>
                  <a:lnTo>
                    <a:pt x="34" y="226"/>
                  </a:lnTo>
                  <a:lnTo>
                    <a:pt x="38" y="214"/>
                  </a:lnTo>
                  <a:lnTo>
                    <a:pt x="32" y="206"/>
                  </a:lnTo>
                  <a:lnTo>
                    <a:pt x="24" y="200"/>
                  </a:lnTo>
                  <a:lnTo>
                    <a:pt x="22" y="196"/>
                  </a:lnTo>
                  <a:lnTo>
                    <a:pt x="32" y="192"/>
                  </a:lnTo>
                  <a:lnTo>
                    <a:pt x="38" y="180"/>
                  </a:lnTo>
                  <a:lnTo>
                    <a:pt x="26" y="178"/>
                  </a:lnTo>
                  <a:lnTo>
                    <a:pt x="16" y="184"/>
                  </a:lnTo>
                  <a:lnTo>
                    <a:pt x="16" y="170"/>
                  </a:lnTo>
                  <a:lnTo>
                    <a:pt x="22" y="162"/>
                  </a:lnTo>
                  <a:lnTo>
                    <a:pt x="26" y="154"/>
                  </a:lnTo>
                  <a:lnTo>
                    <a:pt x="30" y="144"/>
                  </a:lnTo>
                  <a:lnTo>
                    <a:pt x="32" y="136"/>
                  </a:lnTo>
                  <a:lnTo>
                    <a:pt x="38" y="134"/>
                  </a:lnTo>
                  <a:lnTo>
                    <a:pt x="46" y="138"/>
                  </a:lnTo>
                  <a:lnTo>
                    <a:pt x="60" y="120"/>
                  </a:lnTo>
                  <a:lnTo>
                    <a:pt x="68" y="106"/>
                  </a:lnTo>
                  <a:lnTo>
                    <a:pt x="88" y="82"/>
                  </a:lnTo>
                  <a:lnTo>
                    <a:pt x="88" y="72"/>
                  </a:lnTo>
                  <a:lnTo>
                    <a:pt x="100" y="56"/>
                  </a:lnTo>
                  <a:lnTo>
                    <a:pt x="102" y="36"/>
                  </a:lnTo>
                  <a:lnTo>
                    <a:pt x="108" y="26"/>
                  </a:lnTo>
                  <a:lnTo>
                    <a:pt x="114" y="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1168253" y="2553557"/>
              <a:ext cx="411535" cy="376385"/>
            </a:xfrm>
            <a:custGeom>
              <a:avLst/>
              <a:gdLst>
                <a:gd name="T0" fmla="*/ 28 w 598"/>
                <a:gd name="T1" fmla="*/ 94 h 518"/>
                <a:gd name="T2" fmla="*/ 46 w 598"/>
                <a:gd name="T3" fmla="*/ 56 h 518"/>
                <a:gd name="T4" fmla="*/ 42 w 598"/>
                <a:gd name="T5" fmla="*/ 42 h 518"/>
                <a:gd name="T6" fmla="*/ 32 w 598"/>
                <a:gd name="T7" fmla="*/ 30 h 518"/>
                <a:gd name="T8" fmla="*/ 66 w 598"/>
                <a:gd name="T9" fmla="*/ 14 h 518"/>
                <a:gd name="T10" fmla="*/ 90 w 598"/>
                <a:gd name="T11" fmla="*/ 8 h 518"/>
                <a:gd name="T12" fmla="*/ 116 w 598"/>
                <a:gd name="T13" fmla="*/ 4 h 518"/>
                <a:gd name="T14" fmla="*/ 164 w 598"/>
                <a:gd name="T15" fmla="*/ 40 h 518"/>
                <a:gd name="T16" fmla="*/ 198 w 598"/>
                <a:gd name="T17" fmla="*/ 42 h 518"/>
                <a:gd name="T18" fmla="*/ 294 w 598"/>
                <a:gd name="T19" fmla="*/ 86 h 518"/>
                <a:gd name="T20" fmla="*/ 334 w 598"/>
                <a:gd name="T21" fmla="*/ 96 h 518"/>
                <a:gd name="T22" fmla="*/ 362 w 598"/>
                <a:gd name="T23" fmla="*/ 118 h 518"/>
                <a:gd name="T24" fmla="*/ 390 w 598"/>
                <a:gd name="T25" fmla="*/ 120 h 518"/>
                <a:gd name="T26" fmla="*/ 390 w 598"/>
                <a:gd name="T27" fmla="*/ 134 h 518"/>
                <a:gd name="T28" fmla="*/ 432 w 598"/>
                <a:gd name="T29" fmla="*/ 174 h 518"/>
                <a:gd name="T30" fmla="*/ 468 w 598"/>
                <a:gd name="T31" fmla="*/ 190 h 518"/>
                <a:gd name="T32" fmla="*/ 524 w 598"/>
                <a:gd name="T33" fmla="*/ 206 h 518"/>
                <a:gd name="T34" fmla="*/ 534 w 598"/>
                <a:gd name="T35" fmla="*/ 224 h 518"/>
                <a:gd name="T36" fmla="*/ 556 w 598"/>
                <a:gd name="T37" fmla="*/ 232 h 518"/>
                <a:gd name="T38" fmla="*/ 578 w 598"/>
                <a:gd name="T39" fmla="*/ 232 h 518"/>
                <a:gd name="T40" fmla="*/ 592 w 598"/>
                <a:gd name="T41" fmla="*/ 232 h 518"/>
                <a:gd name="T42" fmla="*/ 598 w 598"/>
                <a:gd name="T43" fmla="*/ 258 h 518"/>
                <a:gd name="T44" fmla="*/ 546 w 598"/>
                <a:gd name="T45" fmla="*/ 296 h 518"/>
                <a:gd name="T46" fmla="*/ 472 w 598"/>
                <a:gd name="T47" fmla="*/ 310 h 518"/>
                <a:gd name="T48" fmla="*/ 452 w 598"/>
                <a:gd name="T49" fmla="*/ 328 h 518"/>
                <a:gd name="T50" fmla="*/ 430 w 598"/>
                <a:gd name="T51" fmla="*/ 336 h 518"/>
                <a:gd name="T52" fmla="*/ 408 w 598"/>
                <a:gd name="T53" fmla="*/ 360 h 518"/>
                <a:gd name="T54" fmla="*/ 384 w 598"/>
                <a:gd name="T55" fmla="*/ 376 h 518"/>
                <a:gd name="T56" fmla="*/ 392 w 598"/>
                <a:gd name="T57" fmla="*/ 406 h 518"/>
                <a:gd name="T58" fmla="*/ 394 w 598"/>
                <a:gd name="T59" fmla="*/ 428 h 518"/>
                <a:gd name="T60" fmla="*/ 380 w 598"/>
                <a:gd name="T61" fmla="*/ 436 h 518"/>
                <a:gd name="T62" fmla="*/ 344 w 598"/>
                <a:gd name="T63" fmla="*/ 468 h 518"/>
                <a:gd name="T64" fmla="*/ 330 w 598"/>
                <a:gd name="T65" fmla="*/ 480 h 518"/>
                <a:gd name="T66" fmla="*/ 304 w 598"/>
                <a:gd name="T67" fmla="*/ 488 h 518"/>
                <a:gd name="T68" fmla="*/ 280 w 598"/>
                <a:gd name="T69" fmla="*/ 494 h 518"/>
                <a:gd name="T70" fmla="*/ 266 w 598"/>
                <a:gd name="T71" fmla="*/ 510 h 518"/>
                <a:gd name="T72" fmla="*/ 244 w 598"/>
                <a:gd name="T73" fmla="*/ 516 h 518"/>
                <a:gd name="T74" fmla="*/ 200 w 598"/>
                <a:gd name="T75" fmla="*/ 510 h 518"/>
                <a:gd name="T76" fmla="*/ 134 w 598"/>
                <a:gd name="T77" fmla="*/ 488 h 518"/>
                <a:gd name="T78" fmla="*/ 100 w 598"/>
                <a:gd name="T79" fmla="*/ 502 h 518"/>
                <a:gd name="T80" fmla="*/ 70 w 598"/>
                <a:gd name="T81" fmla="*/ 514 h 518"/>
                <a:gd name="T82" fmla="*/ 32 w 598"/>
                <a:gd name="T83" fmla="*/ 486 h 518"/>
                <a:gd name="T84" fmla="*/ 20 w 598"/>
                <a:gd name="T85" fmla="*/ 424 h 518"/>
                <a:gd name="T86" fmla="*/ 0 w 598"/>
                <a:gd name="T87" fmla="*/ 404 h 518"/>
                <a:gd name="T88" fmla="*/ 8 w 598"/>
                <a:gd name="T89" fmla="*/ 380 h 518"/>
                <a:gd name="T90" fmla="*/ 36 w 598"/>
                <a:gd name="T91" fmla="*/ 366 h 518"/>
                <a:gd name="T92" fmla="*/ 24 w 598"/>
                <a:gd name="T93" fmla="*/ 336 h 518"/>
                <a:gd name="T94" fmla="*/ 50 w 598"/>
                <a:gd name="T95" fmla="*/ 304 h 518"/>
                <a:gd name="T96" fmla="*/ 44 w 598"/>
                <a:gd name="T97" fmla="*/ 280 h 518"/>
                <a:gd name="T98" fmla="*/ 52 w 598"/>
                <a:gd name="T99" fmla="*/ 260 h 518"/>
                <a:gd name="T100" fmla="*/ 66 w 598"/>
                <a:gd name="T101" fmla="*/ 268 h 518"/>
                <a:gd name="T102" fmla="*/ 76 w 598"/>
                <a:gd name="T103" fmla="*/ 228 h 518"/>
                <a:gd name="T104" fmla="*/ 98 w 598"/>
                <a:gd name="T105" fmla="*/ 198 h 518"/>
                <a:gd name="T106" fmla="*/ 120 w 598"/>
                <a:gd name="T107" fmla="*/ 178 h 518"/>
                <a:gd name="T108" fmla="*/ 142 w 598"/>
                <a:gd name="T109" fmla="*/ 168 h 518"/>
                <a:gd name="T110" fmla="*/ 118 w 598"/>
                <a:gd name="T111" fmla="*/ 134 h 518"/>
                <a:gd name="T112" fmla="*/ 96 w 598"/>
                <a:gd name="T113" fmla="*/ 136 h 518"/>
                <a:gd name="T114" fmla="*/ 68 w 598"/>
                <a:gd name="T115" fmla="*/ 126 h 518"/>
                <a:gd name="T116" fmla="*/ 58 w 598"/>
                <a:gd name="T117" fmla="*/ 122 h 518"/>
                <a:gd name="T118" fmla="*/ 50 w 598"/>
                <a:gd name="T119" fmla="*/ 102 h 518"/>
                <a:gd name="T120" fmla="*/ 30 w 598"/>
                <a:gd name="T121" fmla="*/ 10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98" h="518">
                  <a:moveTo>
                    <a:pt x="30" y="102"/>
                  </a:moveTo>
                  <a:lnTo>
                    <a:pt x="28" y="94"/>
                  </a:lnTo>
                  <a:lnTo>
                    <a:pt x="30" y="84"/>
                  </a:lnTo>
                  <a:lnTo>
                    <a:pt x="46" y="56"/>
                  </a:lnTo>
                  <a:lnTo>
                    <a:pt x="38" y="50"/>
                  </a:lnTo>
                  <a:lnTo>
                    <a:pt x="42" y="42"/>
                  </a:lnTo>
                  <a:lnTo>
                    <a:pt x="32" y="40"/>
                  </a:lnTo>
                  <a:lnTo>
                    <a:pt x="32" y="30"/>
                  </a:lnTo>
                  <a:lnTo>
                    <a:pt x="38" y="22"/>
                  </a:lnTo>
                  <a:lnTo>
                    <a:pt x="66" y="14"/>
                  </a:lnTo>
                  <a:lnTo>
                    <a:pt x="88" y="16"/>
                  </a:lnTo>
                  <a:lnTo>
                    <a:pt x="90" y="8"/>
                  </a:lnTo>
                  <a:lnTo>
                    <a:pt x="106" y="0"/>
                  </a:lnTo>
                  <a:lnTo>
                    <a:pt x="116" y="4"/>
                  </a:lnTo>
                  <a:lnTo>
                    <a:pt x="134" y="26"/>
                  </a:lnTo>
                  <a:lnTo>
                    <a:pt x="164" y="40"/>
                  </a:lnTo>
                  <a:lnTo>
                    <a:pt x="192" y="40"/>
                  </a:lnTo>
                  <a:lnTo>
                    <a:pt x="198" y="42"/>
                  </a:lnTo>
                  <a:lnTo>
                    <a:pt x="272" y="84"/>
                  </a:lnTo>
                  <a:lnTo>
                    <a:pt x="294" y="86"/>
                  </a:lnTo>
                  <a:lnTo>
                    <a:pt x="310" y="102"/>
                  </a:lnTo>
                  <a:lnTo>
                    <a:pt x="334" y="96"/>
                  </a:lnTo>
                  <a:lnTo>
                    <a:pt x="348" y="104"/>
                  </a:lnTo>
                  <a:lnTo>
                    <a:pt x="362" y="118"/>
                  </a:lnTo>
                  <a:lnTo>
                    <a:pt x="378" y="118"/>
                  </a:lnTo>
                  <a:lnTo>
                    <a:pt x="390" y="120"/>
                  </a:lnTo>
                  <a:lnTo>
                    <a:pt x="394" y="126"/>
                  </a:lnTo>
                  <a:lnTo>
                    <a:pt x="390" y="134"/>
                  </a:lnTo>
                  <a:lnTo>
                    <a:pt x="390" y="144"/>
                  </a:lnTo>
                  <a:lnTo>
                    <a:pt x="432" y="174"/>
                  </a:lnTo>
                  <a:lnTo>
                    <a:pt x="458" y="192"/>
                  </a:lnTo>
                  <a:lnTo>
                    <a:pt x="468" y="190"/>
                  </a:lnTo>
                  <a:lnTo>
                    <a:pt x="482" y="188"/>
                  </a:lnTo>
                  <a:lnTo>
                    <a:pt x="524" y="206"/>
                  </a:lnTo>
                  <a:lnTo>
                    <a:pt x="528" y="220"/>
                  </a:lnTo>
                  <a:lnTo>
                    <a:pt x="534" y="224"/>
                  </a:lnTo>
                  <a:lnTo>
                    <a:pt x="548" y="228"/>
                  </a:lnTo>
                  <a:lnTo>
                    <a:pt x="556" y="232"/>
                  </a:lnTo>
                  <a:lnTo>
                    <a:pt x="566" y="232"/>
                  </a:lnTo>
                  <a:lnTo>
                    <a:pt x="578" y="232"/>
                  </a:lnTo>
                  <a:lnTo>
                    <a:pt x="588" y="236"/>
                  </a:lnTo>
                  <a:lnTo>
                    <a:pt x="592" y="232"/>
                  </a:lnTo>
                  <a:lnTo>
                    <a:pt x="598" y="244"/>
                  </a:lnTo>
                  <a:lnTo>
                    <a:pt x="598" y="258"/>
                  </a:lnTo>
                  <a:lnTo>
                    <a:pt x="588" y="266"/>
                  </a:lnTo>
                  <a:lnTo>
                    <a:pt x="546" y="296"/>
                  </a:lnTo>
                  <a:lnTo>
                    <a:pt x="526" y="296"/>
                  </a:lnTo>
                  <a:lnTo>
                    <a:pt x="472" y="310"/>
                  </a:lnTo>
                  <a:lnTo>
                    <a:pt x="452" y="312"/>
                  </a:lnTo>
                  <a:lnTo>
                    <a:pt x="452" y="328"/>
                  </a:lnTo>
                  <a:lnTo>
                    <a:pt x="440" y="328"/>
                  </a:lnTo>
                  <a:lnTo>
                    <a:pt x="430" y="336"/>
                  </a:lnTo>
                  <a:lnTo>
                    <a:pt x="418" y="350"/>
                  </a:lnTo>
                  <a:lnTo>
                    <a:pt x="408" y="360"/>
                  </a:lnTo>
                  <a:lnTo>
                    <a:pt x="394" y="364"/>
                  </a:lnTo>
                  <a:lnTo>
                    <a:pt x="384" y="376"/>
                  </a:lnTo>
                  <a:lnTo>
                    <a:pt x="384" y="396"/>
                  </a:lnTo>
                  <a:lnTo>
                    <a:pt x="392" y="406"/>
                  </a:lnTo>
                  <a:lnTo>
                    <a:pt x="394" y="414"/>
                  </a:lnTo>
                  <a:lnTo>
                    <a:pt x="394" y="428"/>
                  </a:lnTo>
                  <a:lnTo>
                    <a:pt x="392" y="432"/>
                  </a:lnTo>
                  <a:lnTo>
                    <a:pt x="380" y="436"/>
                  </a:lnTo>
                  <a:lnTo>
                    <a:pt x="364" y="450"/>
                  </a:lnTo>
                  <a:lnTo>
                    <a:pt x="344" y="468"/>
                  </a:lnTo>
                  <a:lnTo>
                    <a:pt x="334" y="476"/>
                  </a:lnTo>
                  <a:lnTo>
                    <a:pt x="330" y="480"/>
                  </a:lnTo>
                  <a:lnTo>
                    <a:pt x="330" y="488"/>
                  </a:lnTo>
                  <a:lnTo>
                    <a:pt x="304" y="488"/>
                  </a:lnTo>
                  <a:lnTo>
                    <a:pt x="290" y="492"/>
                  </a:lnTo>
                  <a:lnTo>
                    <a:pt x="280" y="494"/>
                  </a:lnTo>
                  <a:lnTo>
                    <a:pt x="274" y="500"/>
                  </a:lnTo>
                  <a:lnTo>
                    <a:pt x="266" y="510"/>
                  </a:lnTo>
                  <a:lnTo>
                    <a:pt x="252" y="516"/>
                  </a:lnTo>
                  <a:lnTo>
                    <a:pt x="244" y="516"/>
                  </a:lnTo>
                  <a:lnTo>
                    <a:pt x="228" y="514"/>
                  </a:lnTo>
                  <a:lnTo>
                    <a:pt x="200" y="510"/>
                  </a:lnTo>
                  <a:lnTo>
                    <a:pt x="154" y="492"/>
                  </a:lnTo>
                  <a:lnTo>
                    <a:pt x="134" y="488"/>
                  </a:lnTo>
                  <a:lnTo>
                    <a:pt x="116" y="494"/>
                  </a:lnTo>
                  <a:lnTo>
                    <a:pt x="100" y="502"/>
                  </a:lnTo>
                  <a:lnTo>
                    <a:pt x="84" y="504"/>
                  </a:lnTo>
                  <a:lnTo>
                    <a:pt x="70" y="514"/>
                  </a:lnTo>
                  <a:lnTo>
                    <a:pt x="62" y="518"/>
                  </a:lnTo>
                  <a:lnTo>
                    <a:pt x="32" y="486"/>
                  </a:lnTo>
                  <a:lnTo>
                    <a:pt x="32" y="442"/>
                  </a:lnTo>
                  <a:lnTo>
                    <a:pt x="20" y="424"/>
                  </a:lnTo>
                  <a:lnTo>
                    <a:pt x="2" y="412"/>
                  </a:lnTo>
                  <a:lnTo>
                    <a:pt x="0" y="404"/>
                  </a:lnTo>
                  <a:lnTo>
                    <a:pt x="0" y="386"/>
                  </a:lnTo>
                  <a:lnTo>
                    <a:pt x="8" y="380"/>
                  </a:lnTo>
                  <a:lnTo>
                    <a:pt x="30" y="372"/>
                  </a:lnTo>
                  <a:lnTo>
                    <a:pt x="36" y="366"/>
                  </a:lnTo>
                  <a:lnTo>
                    <a:pt x="28" y="356"/>
                  </a:lnTo>
                  <a:lnTo>
                    <a:pt x="24" y="336"/>
                  </a:lnTo>
                  <a:lnTo>
                    <a:pt x="32" y="320"/>
                  </a:lnTo>
                  <a:lnTo>
                    <a:pt x="50" y="304"/>
                  </a:lnTo>
                  <a:lnTo>
                    <a:pt x="50" y="292"/>
                  </a:lnTo>
                  <a:lnTo>
                    <a:pt x="44" y="280"/>
                  </a:lnTo>
                  <a:lnTo>
                    <a:pt x="50" y="262"/>
                  </a:lnTo>
                  <a:lnTo>
                    <a:pt x="52" y="260"/>
                  </a:lnTo>
                  <a:lnTo>
                    <a:pt x="60" y="260"/>
                  </a:lnTo>
                  <a:lnTo>
                    <a:pt x="66" y="268"/>
                  </a:lnTo>
                  <a:lnTo>
                    <a:pt x="74" y="258"/>
                  </a:lnTo>
                  <a:lnTo>
                    <a:pt x="76" y="228"/>
                  </a:lnTo>
                  <a:lnTo>
                    <a:pt x="98" y="208"/>
                  </a:lnTo>
                  <a:lnTo>
                    <a:pt x="98" y="198"/>
                  </a:lnTo>
                  <a:lnTo>
                    <a:pt x="98" y="190"/>
                  </a:lnTo>
                  <a:lnTo>
                    <a:pt x="120" y="178"/>
                  </a:lnTo>
                  <a:lnTo>
                    <a:pt x="136" y="174"/>
                  </a:lnTo>
                  <a:lnTo>
                    <a:pt x="142" y="168"/>
                  </a:lnTo>
                  <a:lnTo>
                    <a:pt x="128" y="156"/>
                  </a:lnTo>
                  <a:lnTo>
                    <a:pt x="118" y="134"/>
                  </a:lnTo>
                  <a:lnTo>
                    <a:pt x="112" y="128"/>
                  </a:lnTo>
                  <a:lnTo>
                    <a:pt x="96" y="136"/>
                  </a:lnTo>
                  <a:lnTo>
                    <a:pt x="84" y="132"/>
                  </a:lnTo>
                  <a:lnTo>
                    <a:pt x="68" y="126"/>
                  </a:lnTo>
                  <a:lnTo>
                    <a:pt x="62" y="128"/>
                  </a:lnTo>
                  <a:lnTo>
                    <a:pt x="58" y="122"/>
                  </a:lnTo>
                  <a:lnTo>
                    <a:pt x="58" y="112"/>
                  </a:lnTo>
                  <a:lnTo>
                    <a:pt x="50" y="102"/>
                  </a:lnTo>
                  <a:lnTo>
                    <a:pt x="44" y="100"/>
                  </a:lnTo>
                  <a:lnTo>
                    <a:pt x="30" y="10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1168253" y="2553557"/>
              <a:ext cx="411535" cy="376385"/>
            </a:xfrm>
            <a:custGeom>
              <a:avLst/>
              <a:gdLst>
                <a:gd name="T0" fmla="*/ 28 w 598"/>
                <a:gd name="T1" fmla="*/ 94 h 518"/>
                <a:gd name="T2" fmla="*/ 46 w 598"/>
                <a:gd name="T3" fmla="*/ 56 h 518"/>
                <a:gd name="T4" fmla="*/ 42 w 598"/>
                <a:gd name="T5" fmla="*/ 42 h 518"/>
                <a:gd name="T6" fmla="*/ 32 w 598"/>
                <a:gd name="T7" fmla="*/ 30 h 518"/>
                <a:gd name="T8" fmla="*/ 66 w 598"/>
                <a:gd name="T9" fmla="*/ 14 h 518"/>
                <a:gd name="T10" fmla="*/ 90 w 598"/>
                <a:gd name="T11" fmla="*/ 8 h 518"/>
                <a:gd name="T12" fmla="*/ 116 w 598"/>
                <a:gd name="T13" fmla="*/ 4 h 518"/>
                <a:gd name="T14" fmla="*/ 164 w 598"/>
                <a:gd name="T15" fmla="*/ 40 h 518"/>
                <a:gd name="T16" fmla="*/ 198 w 598"/>
                <a:gd name="T17" fmla="*/ 42 h 518"/>
                <a:gd name="T18" fmla="*/ 294 w 598"/>
                <a:gd name="T19" fmla="*/ 86 h 518"/>
                <a:gd name="T20" fmla="*/ 334 w 598"/>
                <a:gd name="T21" fmla="*/ 96 h 518"/>
                <a:gd name="T22" fmla="*/ 362 w 598"/>
                <a:gd name="T23" fmla="*/ 118 h 518"/>
                <a:gd name="T24" fmla="*/ 390 w 598"/>
                <a:gd name="T25" fmla="*/ 120 h 518"/>
                <a:gd name="T26" fmla="*/ 390 w 598"/>
                <a:gd name="T27" fmla="*/ 134 h 518"/>
                <a:gd name="T28" fmla="*/ 432 w 598"/>
                <a:gd name="T29" fmla="*/ 174 h 518"/>
                <a:gd name="T30" fmla="*/ 468 w 598"/>
                <a:gd name="T31" fmla="*/ 190 h 518"/>
                <a:gd name="T32" fmla="*/ 524 w 598"/>
                <a:gd name="T33" fmla="*/ 206 h 518"/>
                <a:gd name="T34" fmla="*/ 534 w 598"/>
                <a:gd name="T35" fmla="*/ 224 h 518"/>
                <a:gd name="T36" fmla="*/ 556 w 598"/>
                <a:gd name="T37" fmla="*/ 232 h 518"/>
                <a:gd name="T38" fmla="*/ 578 w 598"/>
                <a:gd name="T39" fmla="*/ 232 h 518"/>
                <a:gd name="T40" fmla="*/ 592 w 598"/>
                <a:gd name="T41" fmla="*/ 232 h 518"/>
                <a:gd name="T42" fmla="*/ 598 w 598"/>
                <a:gd name="T43" fmla="*/ 258 h 518"/>
                <a:gd name="T44" fmla="*/ 546 w 598"/>
                <a:gd name="T45" fmla="*/ 296 h 518"/>
                <a:gd name="T46" fmla="*/ 472 w 598"/>
                <a:gd name="T47" fmla="*/ 310 h 518"/>
                <a:gd name="T48" fmla="*/ 452 w 598"/>
                <a:gd name="T49" fmla="*/ 328 h 518"/>
                <a:gd name="T50" fmla="*/ 430 w 598"/>
                <a:gd name="T51" fmla="*/ 336 h 518"/>
                <a:gd name="T52" fmla="*/ 408 w 598"/>
                <a:gd name="T53" fmla="*/ 360 h 518"/>
                <a:gd name="T54" fmla="*/ 384 w 598"/>
                <a:gd name="T55" fmla="*/ 376 h 518"/>
                <a:gd name="T56" fmla="*/ 392 w 598"/>
                <a:gd name="T57" fmla="*/ 406 h 518"/>
                <a:gd name="T58" fmla="*/ 394 w 598"/>
                <a:gd name="T59" fmla="*/ 428 h 518"/>
                <a:gd name="T60" fmla="*/ 380 w 598"/>
                <a:gd name="T61" fmla="*/ 436 h 518"/>
                <a:gd name="T62" fmla="*/ 344 w 598"/>
                <a:gd name="T63" fmla="*/ 468 h 518"/>
                <a:gd name="T64" fmla="*/ 330 w 598"/>
                <a:gd name="T65" fmla="*/ 480 h 518"/>
                <a:gd name="T66" fmla="*/ 304 w 598"/>
                <a:gd name="T67" fmla="*/ 488 h 518"/>
                <a:gd name="T68" fmla="*/ 280 w 598"/>
                <a:gd name="T69" fmla="*/ 494 h 518"/>
                <a:gd name="T70" fmla="*/ 266 w 598"/>
                <a:gd name="T71" fmla="*/ 510 h 518"/>
                <a:gd name="T72" fmla="*/ 244 w 598"/>
                <a:gd name="T73" fmla="*/ 516 h 518"/>
                <a:gd name="T74" fmla="*/ 200 w 598"/>
                <a:gd name="T75" fmla="*/ 510 h 518"/>
                <a:gd name="T76" fmla="*/ 134 w 598"/>
                <a:gd name="T77" fmla="*/ 488 h 518"/>
                <a:gd name="T78" fmla="*/ 100 w 598"/>
                <a:gd name="T79" fmla="*/ 502 h 518"/>
                <a:gd name="T80" fmla="*/ 70 w 598"/>
                <a:gd name="T81" fmla="*/ 514 h 518"/>
                <a:gd name="T82" fmla="*/ 32 w 598"/>
                <a:gd name="T83" fmla="*/ 486 h 518"/>
                <a:gd name="T84" fmla="*/ 20 w 598"/>
                <a:gd name="T85" fmla="*/ 424 h 518"/>
                <a:gd name="T86" fmla="*/ 0 w 598"/>
                <a:gd name="T87" fmla="*/ 404 h 518"/>
                <a:gd name="T88" fmla="*/ 8 w 598"/>
                <a:gd name="T89" fmla="*/ 380 h 518"/>
                <a:gd name="T90" fmla="*/ 36 w 598"/>
                <a:gd name="T91" fmla="*/ 366 h 518"/>
                <a:gd name="T92" fmla="*/ 24 w 598"/>
                <a:gd name="T93" fmla="*/ 336 h 518"/>
                <a:gd name="T94" fmla="*/ 50 w 598"/>
                <a:gd name="T95" fmla="*/ 304 h 518"/>
                <a:gd name="T96" fmla="*/ 44 w 598"/>
                <a:gd name="T97" fmla="*/ 280 h 518"/>
                <a:gd name="T98" fmla="*/ 52 w 598"/>
                <a:gd name="T99" fmla="*/ 260 h 518"/>
                <a:gd name="T100" fmla="*/ 66 w 598"/>
                <a:gd name="T101" fmla="*/ 268 h 518"/>
                <a:gd name="T102" fmla="*/ 76 w 598"/>
                <a:gd name="T103" fmla="*/ 228 h 518"/>
                <a:gd name="T104" fmla="*/ 98 w 598"/>
                <a:gd name="T105" fmla="*/ 198 h 518"/>
                <a:gd name="T106" fmla="*/ 120 w 598"/>
                <a:gd name="T107" fmla="*/ 178 h 518"/>
                <a:gd name="T108" fmla="*/ 142 w 598"/>
                <a:gd name="T109" fmla="*/ 168 h 518"/>
                <a:gd name="T110" fmla="*/ 118 w 598"/>
                <a:gd name="T111" fmla="*/ 134 h 518"/>
                <a:gd name="T112" fmla="*/ 96 w 598"/>
                <a:gd name="T113" fmla="*/ 136 h 518"/>
                <a:gd name="T114" fmla="*/ 68 w 598"/>
                <a:gd name="T115" fmla="*/ 126 h 518"/>
                <a:gd name="T116" fmla="*/ 58 w 598"/>
                <a:gd name="T117" fmla="*/ 122 h 518"/>
                <a:gd name="T118" fmla="*/ 50 w 598"/>
                <a:gd name="T119" fmla="*/ 102 h 518"/>
                <a:gd name="T120" fmla="*/ 30 w 598"/>
                <a:gd name="T121" fmla="*/ 10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98" h="518">
                  <a:moveTo>
                    <a:pt x="30" y="102"/>
                  </a:moveTo>
                  <a:lnTo>
                    <a:pt x="28" y="94"/>
                  </a:lnTo>
                  <a:lnTo>
                    <a:pt x="30" y="84"/>
                  </a:lnTo>
                  <a:lnTo>
                    <a:pt x="46" y="56"/>
                  </a:lnTo>
                  <a:lnTo>
                    <a:pt x="38" y="50"/>
                  </a:lnTo>
                  <a:lnTo>
                    <a:pt x="42" y="42"/>
                  </a:lnTo>
                  <a:lnTo>
                    <a:pt x="32" y="40"/>
                  </a:lnTo>
                  <a:lnTo>
                    <a:pt x="32" y="30"/>
                  </a:lnTo>
                  <a:lnTo>
                    <a:pt x="38" y="22"/>
                  </a:lnTo>
                  <a:lnTo>
                    <a:pt x="66" y="14"/>
                  </a:lnTo>
                  <a:lnTo>
                    <a:pt x="88" y="16"/>
                  </a:lnTo>
                  <a:lnTo>
                    <a:pt x="90" y="8"/>
                  </a:lnTo>
                  <a:lnTo>
                    <a:pt x="106" y="0"/>
                  </a:lnTo>
                  <a:lnTo>
                    <a:pt x="116" y="4"/>
                  </a:lnTo>
                  <a:lnTo>
                    <a:pt x="134" y="26"/>
                  </a:lnTo>
                  <a:lnTo>
                    <a:pt x="164" y="40"/>
                  </a:lnTo>
                  <a:lnTo>
                    <a:pt x="192" y="40"/>
                  </a:lnTo>
                  <a:lnTo>
                    <a:pt x="198" y="42"/>
                  </a:lnTo>
                  <a:lnTo>
                    <a:pt x="272" y="84"/>
                  </a:lnTo>
                  <a:lnTo>
                    <a:pt x="294" y="86"/>
                  </a:lnTo>
                  <a:lnTo>
                    <a:pt x="310" y="102"/>
                  </a:lnTo>
                  <a:lnTo>
                    <a:pt x="334" y="96"/>
                  </a:lnTo>
                  <a:lnTo>
                    <a:pt x="348" y="104"/>
                  </a:lnTo>
                  <a:lnTo>
                    <a:pt x="362" y="118"/>
                  </a:lnTo>
                  <a:lnTo>
                    <a:pt x="378" y="118"/>
                  </a:lnTo>
                  <a:lnTo>
                    <a:pt x="390" y="120"/>
                  </a:lnTo>
                  <a:lnTo>
                    <a:pt x="394" y="126"/>
                  </a:lnTo>
                  <a:lnTo>
                    <a:pt x="390" y="134"/>
                  </a:lnTo>
                  <a:lnTo>
                    <a:pt x="390" y="144"/>
                  </a:lnTo>
                  <a:lnTo>
                    <a:pt x="432" y="174"/>
                  </a:lnTo>
                  <a:lnTo>
                    <a:pt x="458" y="192"/>
                  </a:lnTo>
                  <a:lnTo>
                    <a:pt x="468" y="190"/>
                  </a:lnTo>
                  <a:lnTo>
                    <a:pt x="482" y="188"/>
                  </a:lnTo>
                  <a:lnTo>
                    <a:pt x="524" y="206"/>
                  </a:lnTo>
                  <a:lnTo>
                    <a:pt x="528" y="220"/>
                  </a:lnTo>
                  <a:lnTo>
                    <a:pt x="534" y="224"/>
                  </a:lnTo>
                  <a:lnTo>
                    <a:pt x="548" y="228"/>
                  </a:lnTo>
                  <a:lnTo>
                    <a:pt x="556" y="232"/>
                  </a:lnTo>
                  <a:lnTo>
                    <a:pt x="566" y="232"/>
                  </a:lnTo>
                  <a:lnTo>
                    <a:pt x="578" y="232"/>
                  </a:lnTo>
                  <a:lnTo>
                    <a:pt x="588" y="236"/>
                  </a:lnTo>
                  <a:lnTo>
                    <a:pt x="592" y="232"/>
                  </a:lnTo>
                  <a:lnTo>
                    <a:pt x="598" y="244"/>
                  </a:lnTo>
                  <a:lnTo>
                    <a:pt x="598" y="258"/>
                  </a:lnTo>
                  <a:lnTo>
                    <a:pt x="588" y="266"/>
                  </a:lnTo>
                  <a:lnTo>
                    <a:pt x="546" y="296"/>
                  </a:lnTo>
                  <a:lnTo>
                    <a:pt x="526" y="296"/>
                  </a:lnTo>
                  <a:lnTo>
                    <a:pt x="472" y="310"/>
                  </a:lnTo>
                  <a:lnTo>
                    <a:pt x="452" y="312"/>
                  </a:lnTo>
                  <a:lnTo>
                    <a:pt x="452" y="328"/>
                  </a:lnTo>
                  <a:lnTo>
                    <a:pt x="440" y="328"/>
                  </a:lnTo>
                  <a:lnTo>
                    <a:pt x="430" y="336"/>
                  </a:lnTo>
                  <a:lnTo>
                    <a:pt x="418" y="350"/>
                  </a:lnTo>
                  <a:lnTo>
                    <a:pt x="408" y="360"/>
                  </a:lnTo>
                  <a:lnTo>
                    <a:pt x="394" y="364"/>
                  </a:lnTo>
                  <a:lnTo>
                    <a:pt x="384" y="376"/>
                  </a:lnTo>
                  <a:lnTo>
                    <a:pt x="384" y="396"/>
                  </a:lnTo>
                  <a:lnTo>
                    <a:pt x="392" y="406"/>
                  </a:lnTo>
                  <a:lnTo>
                    <a:pt x="394" y="414"/>
                  </a:lnTo>
                  <a:lnTo>
                    <a:pt x="394" y="428"/>
                  </a:lnTo>
                  <a:lnTo>
                    <a:pt x="392" y="432"/>
                  </a:lnTo>
                  <a:lnTo>
                    <a:pt x="380" y="436"/>
                  </a:lnTo>
                  <a:lnTo>
                    <a:pt x="364" y="450"/>
                  </a:lnTo>
                  <a:lnTo>
                    <a:pt x="344" y="468"/>
                  </a:lnTo>
                  <a:lnTo>
                    <a:pt x="334" y="476"/>
                  </a:lnTo>
                  <a:lnTo>
                    <a:pt x="330" y="480"/>
                  </a:lnTo>
                  <a:lnTo>
                    <a:pt x="330" y="488"/>
                  </a:lnTo>
                  <a:lnTo>
                    <a:pt x="304" y="488"/>
                  </a:lnTo>
                  <a:lnTo>
                    <a:pt x="290" y="492"/>
                  </a:lnTo>
                  <a:lnTo>
                    <a:pt x="280" y="494"/>
                  </a:lnTo>
                  <a:lnTo>
                    <a:pt x="274" y="500"/>
                  </a:lnTo>
                  <a:lnTo>
                    <a:pt x="266" y="510"/>
                  </a:lnTo>
                  <a:lnTo>
                    <a:pt x="252" y="516"/>
                  </a:lnTo>
                  <a:lnTo>
                    <a:pt x="244" y="516"/>
                  </a:lnTo>
                  <a:lnTo>
                    <a:pt x="228" y="514"/>
                  </a:lnTo>
                  <a:lnTo>
                    <a:pt x="200" y="510"/>
                  </a:lnTo>
                  <a:lnTo>
                    <a:pt x="154" y="492"/>
                  </a:lnTo>
                  <a:lnTo>
                    <a:pt x="134" y="488"/>
                  </a:lnTo>
                  <a:lnTo>
                    <a:pt x="116" y="494"/>
                  </a:lnTo>
                  <a:lnTo>
                    <a:pt x="100" y="502"/>
                  </a:lnTo>
                  <a:lnTo>
                    <a:pt x="84" y="504"/>
                  </a:lnTo>
                  <a:lnTo>
                    <a:pt x="70" y="514"/>
                  </a:lnTo>
                  <a:lnTo>
                    <a:pt x="62" y="518"/>
                  </a:lnTo>
                  <a:lnTo>
                    <a:pt x="32" y="486"/>
                  </a:lnTo>
                  <a:lnTo>
                    <a:pt x="32" y="442"/>
                  </a:lnTo>
                  <a:lnTo>
                    <a:pt x="20" y="424"/>
                  </a:lnTo>
                  <a:lnTo>
                    <a:pt x="2" y="412"/>
                  </a:lnTo>
                  <a:lnTo>
                    <a:pt x="0" y="404"/>
                  </a:lnTo>
                  <a:lnTo>
                    <a:pt x="0" y="386"/>
                  </a:lnTo>
                  <a:lnTo>
                    <a:pt x="8" y="380"/>
                  </a:lnTo>
                  <a:lnTo>
                    <a:pt x="30" y="372"/>
                  </a:lnTo>
                  <a:lnTo>
                    <a:pt x="36" y="366"/>
                  </a:lnTo>
                  <a:lnTo>
                    <a:pt x="28" y="356"/>
                  </a:lnTo>
                  <a:lnTo>
                    <a:pt x="24" y="336"/>
                  </a:lnTo>
                  <a:lnTo>
                    <a:pt x="32" y="320"/>
                  </a:lnTo>
                  <a:lnTo>
                    <a:pt x="50" y="304"/>
                  </a:lnTo>
                  <a:lnTo>
                    <a:pt x="50" y="292"/>
                  </a:lnTo>
                  <a:lnTo>
                    <a:pt x="44" y="280"/>
                  </a:lnTo>
                  <a:lnTo>
                    <a:pt x="50" y="262"/>
                  </a:lnTo>
                  <a:lnTo>
                    <a:pt x="52" y="260"/>
                  </a:lnTo>
                  <a:lnTo>
                    <a:pt x="60" y="260"/>
                  </a:lnTo>
                  <a:lnTo>
                    <a:pt x="66" y="268"/>
                  </a:lnTo>
                  <a:lnTo>
                    <a:pt x="74" y="258"/>
                  </a:lnTo>
                  <a:lnTo>
                    <a:pt x="76" y="228"/>
                  </a:lnTo>
                  <a:lnTo>
                    <a:pt x="98" y="208"/>
                  </a:lnTo>
                  <a:lnTo>
                    <a:pt x="98" y="198"/>
                  </a:lnTo>
                  <a:lnTo>
                    <a:pt x="98" y="190"/>
                  </a:lnTo>
                  <a:lnTo>
                    <a:pt x="120" y="178"/>
                  </a:lnTo>
                  <a:lnTo>
                    <a:pt x="136" y="174"/>
                  </a:lnTo>
                  <a:lnTo>
                    <a:pt x="142" y="168"/>
                  </a:lnTo>
                  <a:lnTo>
                    <a:pt x="128" y="156"/>
                  </a:lnTo>
                  <a:lnTo>
                    <a:pt x="118" y="134"/>
                  </a:lnTo>
                  <a:lnTo>
                    <a:pt x="112" y="128"/>
                  </a:lnTo>
                  <a:lnTo>
                    <a:pt x="96" y="136"/>
                  </a:lnTo>
                  <a:lnTo>
                    <a:pt x="84" y="132"/>
                  </a:lnTo>
                  <a:lnTo>
                    <a:pt x="68" y="126"/>
                  </a:lnTo>
                  <a:lnTo>
                    <a:pt x="62" y="128"/>
                  </a:lnTo>
                  <a:lnTo>
                    <a:pt x="58" y="122"/>
                  </a:lnTo>
                  <a:lnTo>
                    <a:pt x="58" y="112"/>
                  </a:lnTo>
                  <a:lnTo>
                    <a:pt x="50" y="102"/>
                  </a:lnTo>
                  <a:lnTo>
                    <a:pt x="44" y="100"/>
                  </a:lnTo>
                  <a:lnTo>
                    <a:pt x="30" y="10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480688" y="2866000"/>
              <a:ext cx="16516" cy="11626"/>
            </a:xfrm>
            <a:custGeom>
              <a:avLst/>
              <a:gdLst>
                <a:gd name="T0" fmla="*/ 24 w 24"/>
                <a:gd name="T1" fmla="*/ 0 h 16"/>
                <a:gd name="T2" fmla="*/ 12 w 24"/>
                <a:gd name="T3" fmla="*/ 0 h 16"/>
                <a:gd name="T4" fmla="*/ 0 w 24"/>
                <a:gd name="T5" fmla="*/ 12 h 16"/>
                <a:gd name="T6" fmla="*/ 6 w 24"/>
                <a:gd name="T7" fmla="*/ 16 h 16"/>
                <a:gd name="T8" fmla="*/ 18 w 24"/>
                <a:gd name="T9" fmla="*/ 16 h 16"/>
                <a:gd name="T10" fmla="*/ 24 w 24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16">
                  <a:moveTo>
                    <a:pt x="24" y="0"/>
                  </a:moveTo>
                  <a:lnTo>
                    <a:pt x="12" y="0"/>
                  </a:lnTo>
                  <a:lnTo>
                    <a:pt x="0" y="12"/>
                  </a:lnTo>
                  <a:lnTo>
                    <a:pt x="6" y="16"/>
                  </a:lnTo>
                  <a:lnTo>
                    <a:pt x="18" y="16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1480688" y="2866000"/>
              <a:ext cx="16516" cy="11626"/>
            </a:xfrm>
            <a:custGeom>
              <a:avLst/>
              <a:gdLst>
                <a:gd name="T0" fmla="*/ 24 w 24"/>
                <a:gd name="T1" fmla="*/ 0 h 16"/>
                <a:gd name="T2" fmla="*/ 12 w 24"/>
                <a:gd name="T3" fmla="*/ 0 h 16"/>
                <a:gd name="T4" fmla="*/ 0 w 24"/>
                <a:gd name="T5" fmla="*/ 12 h 16"/>
                <a:gd name="T6" fmla="*/ 6 w 24"/>
                <a:gd name="T7" fmla="*/ 16 h 16"/>
                <a:gd name="T8" fmla="*/ 18 w 24"/>
                <a:gd name="T9" fmla="*/ 16 h 16"/>
                <a:gd name="T10" fmla="*/ 24 w 24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16">
                  <a:moveTo>
                    <a:pt x="24" y="0"/>
                  </a:moveTo>
                  <a:lnTo>
                    <a:pt x="12" y="0"/>
                  </a:lnTo>
                  <a:lnTo>
                    <a:pt x="0" y="12"/>
                  </a:lnTo>
                  <a:lnTo>
                    <a:pt x="6" y="16"/>
                  </a:lnTo>
                  <a:lnTo>
                    <a:pt x="18" y="16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1527485" y="2836935"/>
              <a:ext cx="35786" cy="29064"/>
            </a:xfrm>
            <a:custGeom>
              <a:avLst/>
              <a:gdLst>
                <a:gd name="T0" fmla="*/ 38 w 52"/>
                <a:gd name="T1" fmla="*/ 0 h 40"/>
                <a:gd name="T2" fmla="*/ 32 w 52"/>
                <a:gd name="T3" fmla="*/ 6 h 40"/>
                <a:gd name="T4" fmla="*/ 10 w 52"/>
                <a:gd name="T5" fmla="*/ 8 h 40"/>
                <a:gd name="T6" fmla="*/ 0 w 52"/>
                <a:gd name="T7" fmla="*/ 22 h 40"/>
                <a:gd name="T8" fmla="*/ 16 w 52"/>
                <a:gd name="T9" fmla="*/ 32 h 40"/>
                <a:gd name="T10" fmla="*/ 24 w 52"/>
                <a:gd name="T11" fmla="*/ 40 h 40"/>
                <a:gd name="T12" fmla="*/ 40 w 52"/>
                <a:gd name="T13" fmla="*/ 38 h 40"/>
                <a:gd name="T14" fmla="*/ 52 w 52"/>
                <a:gd name="T15" fmla="*/ 32 h 40"/>
                <a:gd name="T16" fmla="*/ 50 w 52"/>
                <a:gd name="T17" fmla="*/ 22 h 40"/>
                <a:gd name="T18" fmla="*/ 40 w 52"/>
                <a:gd name="T19" fmla="*/ 14 h 40"/>
                <a:gd name="T20" fmla="*/ 38 w 52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40">
                  <a:moveTo>
                    <a:pt x="38" y="0"/>
                  </a:moveTo>
                  <a:lnTo>
                    <a:pt x="32" y="6"/>
                  </a:lnTo>
                  <a:lnTo>
                    <a:pt x="10" y="8"/>
                  </a:lnTo>
                  <a:lnTo>
                    <a:pt x="0" y="22"/>
                  </a:lnTo>
                  <a:lnTo>
                    <a:pt x="16" y="32"/>
                  </a:lnTo>
                  <a:lnTo>
                    <a:pt x="24" y="40"/>
                  </a:lnTo>
                  <a:lnTo>
                    <a:pt x="40" y="38"/>
                  </a:lnTo>
                  <a:lnTo>
                    <a:pt x="52" y="32"/>
                  </a:lnTo>
                  <a:lnTo>
                    <a:pt x="50" y="22"/>
                  </a:lnTo>
                  <a:lnTo>
                    <a:pt x="40" y="14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1527485" y="2836935"/>
              <a:ext cx="35786" cy="29064"/>
            </a:xfrm>
            <a:custGeom>
              <a:avLst/>
              <a:gdLst>
                <a:gd name="T0" fmla="*/ 38 w 52"/>
                <a:gd name="T1" fmla="*/ 0 h 40"/>
                <a:gd name="T2" fmla="*/ 32 w 52"/>
                <a:gd name="T3" fmla="*/ 6 h 40"/>
                <a:gd name="T4" fmla="*/ 10 w 52"/>
                <a:gd name="T5" fmla="*/ 8 h 40"/>
                <a:gd name="T6" fmla="*/ 0 w 52"/>
                <a:gd name="T7" fmla="*/ 22 h 40"/>
                <a:gd name="T8" fmla="*/ 16 w 52"/>
                <a:gd name="T9" fmla="*/ 32 h 40"/>
                <a:gd name="T10" fmla="*/ 24 w 52"/>
                <a:gd name="T11" fmla="*/ 40 h 40"/>
                <a:gd name="T12" fmla="*/ 40 w 52"/>
                <a:gd name="T13" fmla="*/ 38 h 40"/>
                <a:gd name="T14" fmla="*/ 52 w 52"/>
                <a:gd name="T15" fmla="*/ 32 h 40"/>
                <a:gd name="T16" fmla="*/ 50 w 52"/>
                <a:gd name="T17" fmla="*/ 22 h 40"/>
                <a:gd name="T18" fmla="*/ 40 w 52"/>
                <a:gd name="T19" fmla="*/ 14 h 40"/>
                <a:gd name="T20" fmla="*/ 38 w 52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40">
                  <a:moveTo>
                    <a:pt x="38" y="0"/>
                  </a:moveTo>
                  <a:lnTo>
                    <a:pt x="32" y="6"/>
                  </a:lnTo>
                  <a:lnTo>
                    <a:pt x="10" y="8"/>
                  </a:lnTo>
                  <a:lnTo>
                    <a:pt x="0" y="22"/>
                  </a:lnTo>
                  <a:lnTo>
                    <a:pt x="16" y="32"/>
                  </a:lnTo>
                  <a:lnTo>
                    <a:pt x="24" y="40"/>
                  </a:lnTo>
                  <a:lnTo>
                    <a:pt x="40" y="38"/>
                  </a:lnTo>
                  <a:lnTo>
                    <a:pt x="52" y="32"/>
                  </a:lnTo>
                  <a:lnTo>
                    <a:pt x="50" y="22"/>
                  </a:lnTo>
                  <a:lnTo>
                    <a:pt x="40" y="14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1583916" y="2838389"/>
              <a:ext cx="11011" cy="15985"/>
            </a:xfrm>
            <a:custGeom>
              <a:avLst/>
              <a:gdLst>
                <a:gd name="T0" fmla="*/ 10 w 16"/>
                <a:gd name="T1" fmla="*/ 0 h 22"/>
                <a:gd name="T2" fmla="*/ 0 w 16"/>
                <a:gd name="T3" fmla="*/ 6 h 22"/>
                <a:gd name="T4" fmla="*/ 8 w 16"/>
                <a:gd name="T5" fmla="*/ 14 h 22"/>
                <a:gd name="T6" fmla="*/ 16 w 16"/>
                <a:gd name="T7" fmla="*/ 22 h 22"/>
                <a:gd name="T8" fmla="*/ 10 w 16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2">
                  <a:moveTo>
                    <a:pt x="10" y="0"/>
                  </a:moveTo>
                  <a:lnTo>
                    <a:pt x="0" y="6"/>
                  </a:lnTo>
                  <a:lnTo>
                    <a:pt x="8" y="14"/>
                  </a:lnTo>
                  <a:lnTo>
                    <a:pt x="16" y="2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1583916" y="2838389"/>
              <a:ext cx="11011" cy="15985"/>
            </a:xfrm>
            <a:custGeom>
              <a:avLst/>
              <a:gdLst>
                <a:gd name="T0" fmla="*/ 10 w 16"/>
                <a:gd name="T1" fmla="*/ 0 h 22"/>
                <a:gd name="T2" fmla="*/ 0 w 16"/>
                <a:gd name="T3" fmla="*/ 6 h 22"/>
                <a:gd name="T4" fmla="*/ 8 w 16"/>
                <a:gd name="T5" fmla="*/ 14 h 22"/>
                <a:gd name="T6" fmla="*/ 16 w 16"/>
                <a:gd name="T7" fmla="*/ 22 h 22"/>
                <a:gd name="T8" fmla="*/ 10 w 16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2">
                  <a:moveTo>
                    <a:pt x="10" y="0"/>
                  </a:moveTo>
                  <a:lnTo>
                    <a:pt x="0" y="6"/>
                  </a:lnTo>
                  <a:lnTo>
                    <a:pt x="8" y="14"/>
                  </a:lnTo>
                  <a:lnTo>
                    <a:pt x="16" y="2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1732564" y="2823856"/>
              <a:ext cx="60560" cy="100272"/>
            </a:xfrm>
            <a:custGeom>
              <a:avLst/>
              <a:gdLst>
                <a:gd name="T0" fmla="*/ 52 w 88"/>
                <a:gd name="T1" fmla="*/ 0 h 138"/>
                <a:gd name="T2" fmla="*/ 38 w 88"/>
                <a:gd name="T3" fmla="*/ 8 h 138"/>
                <a:gd name="T4" fmla="*/ 26 w 88"/>
                <a:gd name="T5" fmla="*/ 16 h 138"/>
                <a:gd name="T6" fmla="*/ 16 w 88"/>
                <a:gd name="T7" fmla="*/ 18 h 138"/>
                <a:gd name="T8" fmla="*/ 0 w 88"/>
                <a:gd name="T9" fmla="*/ 16 h 138"/>
                <a:gd name="T10" fmla="*/ 2 w 88"/>
                <a:gd name="T11" fmla="*/ 32 h 138"/>
                <a:gd name="T12" fmla="*/ 10 w 88"/>
                <a:gd name="T13" fmla="*/ 42 h 138"/>
                <a:gd name="T14" fmla="*/ 8 w 88"/>
                <a:gd name="T15" fmla="*/ 70 h 138"/>
                <a:gd name="T16" fmla="*/ 8 w 88"/>
                <a:gd name="T17" fmla="*/ 82 h 138"/>
                <a:gd name="T18" fmla="*/ 10 w 88"/>
                <a:gd name="T19" fmla="*/ 92 h 138"/>
                <a:gd name="T20" fmla="*/ 2 w 88"/>
                <a:gd name="T21" fmla="*/ 114 h 138"/>
                <a:gd name="T22" fmla="*/ 4 w 88"/>
                <a:gd name="T23" fmla="*/ 130 h 138"/>
                <a:gd name="T24" fmla="*/ 16 w 88"/>
                <a:gd name="T25" fmla="*/ 138 h 138"/>
                <a:gd name="T26" fmla="*/ 32 w 88"/>
                <a:gd name="T27" fmla="*/ 128 h 138"/>
                <a:gd name="T28" fmla="*/ 38 w 88"/>
                <a:gd name="T29" fmla="*/ 124 h 138"/>
                <a:gd name="T30" fmla="*/ 54 w 88"/>
                <a:gd name="T31" fmla="*/ 128 h 138"/>
                <a:gd name="T32" fmla="*/ 66 w 88"/>
                <a:gd name="T33" fmla="*/ 116 h 138"/>
                <a:gd name="T34" fmla="*/ 66 w 88"/>
                <a:gd name="T35" fmla="*/ 106 h 138"/>
                <a:gd name="T36" fmla="*/ 78 w 88"/>
                <a:gd name="T37" fmla="*/ 86 h 138"/>
                <a:gd name="T38" fmla="*/ 84 w 88"/>
                <a:gd name="T39" fmla="*/ 72 h 138"/>
                <a:gd name="T40" fmla="*/ 78 w 88"/>
                <a:gd name="T41" fmla="*/ 58 h 138"/>
                <a:gd name="T42" fmla="*/ 88 w 88"/>
                <a:gd name="T43" fmla="*/ 42 h 138"/>
                <a:gd name="T44" fmla="*/ 82 w 88"/>
                <a:gd name="T45" fmla="*/ 18 h 138"/>
                <a:gd name="T46" fmla="*/ 78 w 88"/>
                <a:gd name="T47" fmla="*/ 4 h 138"/>
                <a:gd name="T48" fmla="*/ 52 w 88"/>
                <a:gd name="T4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8" h="138">
                  <a:moveTo>
                    <a:pt x="52" y="0"/>
                  </a:moveTo>
                  <a:lnTo>
                    <a:pt x="38" y="8"/>
                  </a:lnTo>
                  <a:lnTo>
                    <a:pt x="26" y="16"/>
                  </a:lnTo>
                  <a:lnTo>
                    <a:pt x="16" y="18"/>
                  </a:lnTo>
                  <a:lnTo>
                    <a:pt x="0" y="16"/>
                  </a:lnTo>
                  <a:lnTo>
                    <a:pt x="2" y="32"/>
                  </a:lnTo>
                  <a:lnTo>
                    <a:pt x="10" y="42"/>
                  </a:lnTo>
                  <a:lnTo>
                    <a:pt x="8" y="70"/>
                  </a:lnTo>
                  <a:lnTo>
                    <a:pt x="8" y="82"/>
                  </a:lnTo>
                  <a:lnTo>
                    <a:pt x="10" y="92"/>
                  </a:lnTo>
                  <a:lnTo>
                    <a:pt x="2" y="114"/>
                  </a:lnTo>
                  <a:lnTo>
                    <a:pt x="4" y="130"/>
                  </a:lnTo>
                  <a:lnTo>
                    <a:pt x="16" y="138"/>
                  </a:lnTo>
                  <a:lnTo>
                    <a:pt x="32" y="128"/>
                  </a:lnTo>
                  <a:lnTo>
                    <a:pt x="38" y="124"/>
                  </a:lnTo>
                  <a:lnTo>
                    <a:pt x="54" y="128"/>
                  </a:lnTo>
                  <a:lnTo>
                    <a:pt x="66" y="116"/>
                  </a:lnTo>
                  <a:lnTo>
                    <a:pt x="66" y="106"/>
                  </a:lnTo>
                  <a:lnTo>
                    <a:pt x="78" y="86"/>
                  </a:lnTo>
                  <a:lnTo>
                    <a:pt x="84" y="72"/>
                  </a:lnTo>
                  <a:lnTo>
                    <a:pt x="78" y="58"/>
                  </a:lnTo>
                  <a:lnTo>
                    <a:pt x="88" y="42"/>
                  </a:lnTo>
                  <a:lnTo>
                    <a:pt x="82" y="18"/>
                  </a:lnTo>
                  <a:lnTo>
                    <a:pt x="78" y="4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1732564" y="2823856"/>
              <a:ext cx="60560" cy="100272"/>
            </a:xfrm>
            <a:custGeom>
              <a:avLst/>
              <a:gdLst>
                <a:gd name="T0" fmla="*/ 52 w 88"/>
                <a:gd name="T1" fmla="*/ 0 h 138"/>
                <a:gd name="T2" fmla="*/ 38 w 88"/>
                <a:gd name="T3" fmla="*/ 8 h 138"/>
                <a:gd name="T4" fmla="*/ 26 w 88"/>
                <a:gd name="T5" fmla="*/ 16 h 138"/>
                <a:gd name="T6" fmla="*/ 16 w 88"/>
                <a:gd name="T7" fmla="*/ 18 h 138"/>
                <a:gd name="T8" fmla="*/ 0 w 88"/>
                <a:gd name="T9" fmla="*/ 16 h 138"/>
                <a:gd name="T10" fmla="*/ 2 w 88"/>
                <a:gd name="T11" fmla="*/ 32 h 138"/>
                <a:gd name="T12" fmla="*/ 10 w 88"/>
                <a:gd name="T13" fmla="*/ 42 h 138"/>
                <a:gd name="T14" fmla="*/ 8 w 88"/>
                <a:gd name="T15" fmla="*/ 70 h 138"/>
                <a:gd name="T16" fmla="*/ 8 w 88"/>
                <a:gd name="T17" fmla="*/ 82 h 138"/>
                <a:gd name="T18" fmla="*/ 10 w 88"/>
                <a:gd name="T19" fmla="*/ 92 h 138"/>
                <a:gd name="T20" fmla="*/ 2 w 88"/>
                <a:gd name="T21" fmla="*/ 114 h 138"/>
                <a:gd name="T22" fmla="*/ 4 w 88"/>
                <a:gd name="T23" fmla="*/ 130 h 138"/>
                <a:gd name="T24" fmla="*/ 16 w 88"/>
                <a:gd name="T25" fmla="*/ 138 h 138"/>
                <a:gd name="T26" fmla="*/ 32 w 88"/>
                <a:gd name="T27" fmla="*/ 128 h 138"/>
                <a:gd name="T28" fmla="*/ 38 w 88"/>
                <a:gd name="T29" fmla="*/ 124 h 138"/>
                <a:gd name="T30" fmla="*/ 54 w 88"/>
                <a:gd name="T31" fmla="*/ 128 h 138"/>
                <a:gd name="T32" fmla="*/ 66 w 88"/>
                <a:gd name="T33" fmla="*/ 116 h 138"/>
                <a:gd name="T34" fmla="*/ 66 w 88"/>
                <a:gd name="T35" fmla="*/ 106 h 138"/>
                <a:gd name="T36" fmla="*/ 78 w 88"/>
                <a:gd name="T37" fmla="*/ 86 h 138"/>
                <a:gd name="T38" fmla="*/ 84 w 88"/>
                <a:gd name="T39" fmla="*/ 72 h 138"/>
                <a:gd name="T40" fmla="*/ 78 w 88"/>
                <a:gd name="T41" fmla="*/ 58 h 138"/>
                <a:gd name="T42" fmla="*/ 88 w 88"/>
                <a:gd name="T43" fmla="*/ 42 h 138"/>
                <a:gd name="T44" fmla="*/ 82 w 88"/>
                <a:gd name="T45" fmla="*/ 18 h 138"/>
                <a:gd name="T46" fmla="*/ 78 w 88"/>
                <a:gd name="T47" fmla="*/ 4 h 138"/>
                <a:gd name="T48" fmla="*/ 52 w 88"/>
                <a:gd name="T4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8" h="138">
                  <a:moveTo>
                    <a:pt x="52" y="0"/>
                  </a:moveTo>
                  <a:lnTo>
                    <a:pt x="38" y="8"/>
                  </a:lnTo>
                  <a:lnTo>
                    <a:pt x="26" y="16"/>
                  </a:lnTo>
                  <a:lnTo>
                    <a:pt x="16" y="18"/>
                  </a:lnTo>
                  <a:lnTo>
                    <a:pt x="0" y="16"/>
                  </a:lnTo>
                  <a:lnTo>
                    <a:pt x="2" y="32"/>
                  </a:lnTo>
                  <a:lnTo>
                    <a:pt x="10" y="42"/>
                  </a:lnTo>
                  <a:lnTo>
                    <a:pt x="8" y="70"/>
                  </a:lnTo>
                  <a:lnTo>
                    <a:pt x="8" y="82"/>
                  </a:lnTo>
                  <a:lnTo>
                    <a:pt x="10" y="92"/>
                  </a:lnTo>
                  <a:lnTo>
                    <a:pt x="2" y="114"/>
                  </a:lnTo>
                  <a:lnTo>
                    <a:pt x="4" y="130"/>
                  </a:lnTo>
                  <a:lnTo>
                    <a:pt x="16" y="138"/>
                  </a:lnTo>
                  <a:lnTo>
                    <a:pt x="32" y="128"/>
                  </a:lnTo>
                  <a:lnTo>
                    <a:pt x="38" y="124"/>
                  </a:lnTo>
                  <a:lnTo>
                    <a:pt x="54" y="128"/>
                  </a:lnTo>
                  <a:lnTo>
                    <a:pt x="66" y="116"/>
                  </a:lnTo>
                  <a:lnTo>
                    <a:pt x="66" y="106"/>
                  </a:lnTo>
                  <a:lnTo>
                    <a:pt x="78" y="86"/>
                  </a:lnTo>
                  <a:lnTo>
                    <a:pt x="84" y="72"/>
                  </a:lnTo>
                  <a:lnTo>
                    <a:pt x="78" y="58"/>
                  </a:lnTo>
                  <a:lnTo>
                    <a:pt x="88" y="42"/>
                  </a:lnTo>
                  <a:lnTo>
                    <a:pt x="82" y="18"/>
                  </a:lnTo>
                  <a:lnTo>
                    <a:pt x="78" y="4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25" name="Freeform 19"/>
            <p:cNvSpPr>
              <a:spLocks/>
            </p:cNvSpPr>
            <p:nvPr/>
          </p:nvSpPr>
          <p:spPr bwMode="auto">
            <a:xfrm>
              <a:off x="1871578" y="2980804"/>
              <a:ext cx="110110" cy="71208"/>
            </a:xfrm>
            <a:custGeom>
              <a:avLst/>
              <a:gdLst>
                <a:gd name="T0" fmla="*/ 150 w 160"/>
                <a:gd name="T1" fmla="*/ 0 h 98"/>
                <a:gd name="T2" fmla="*/ 160 w 160"/>
                <a:gd name="T3" fmla="*/ 8 h 98"/>
                <a:gd name="T4" fmla="*/ 154 w 160"/>
                <a:gd name="T5" fmla="*/ 16 h 98"/>
                <a:gd name="T6" fmla="*/ 148 w 160"/>
                <a:gd name="T7" fmla="*/ 30 h 98"/>
                <a:gd name="T8" fmla="*/ 140 w 160"/>
                <a:gd name="T9" fmla="*/ 38 h 98"/>
                <a:gd name="T10" fmla="*/ 142 w 160"/>
                <a:gd name="T11" fmla="*/ 62 h 98"/>
                <a:gd name="T12" fmla="*/ 148 w 160"/>
                <a:gd name="T13" fmla="*/ 80 h 98"/>
                <a:gd name="T14" fmla="*/ 134 w 160"/>
                <a:gd name="T15" fmla="*/ 88 h 98"/>
                <a:gd name="T16" fmla="*/ 132 w 160"/>
                <a:gd name="T17" fmla="*/ 96 h 98"/>
                <a:gd name="T18" fmla="*/ 120 w 160"/>
                <a:gd name="T19" fmla="*/ 98 h 98"/>
                <a:gd name="T20" fmla="*/ 104 w 160"/>
                <a:gd name="T21" fmla="*/ 82 h 98"/>
                <a:gd name="T22" fmla="*/ 94 w 160"/>
                <a:gd name="T23" fmla="*/ 82 h 98"/>
                <a:gd name="T24" fmla="*/ 84 w 160"/>
                <a:gd name="T25" fmla="*/ 70 h 98"/>
                <a:gd name="T26" fmla="*/ 68 w 160"/>
                <a:gd name="T27" fmla="*/ 62 h 98"/>
                <a:gd name="T28" fmla="*/ 58 w 160"/>
                <a:gd name="T29" fmla="*/ 58 h 98"/>
                <a:gd name="T30" fmla="*/ 46 w 160"/>
                <a:gd name="T31" fmla="*/ 54 h 98"/>
                <a:gd name="T32" fmla="*/ 36 w 160"/>
                <a:gd name="T33" fmla="*/ 44 h 98"/>
                <a:gd name="T34" fmla="*/ 16 w 160"/>
                <a:gd name="T35" fmla="*/ 32 h 98"/>
                <a:gd name="T36" fmla="*/ 8 w 160"/>
                <a:gd name="T37" fmla="*/ 30 h 98"/>
                <a:gd name="T38" fmla="*/ 0 w 160"/>
                <a:gd name="T39" fmla="*/ 22 h 98"/>
                <a:gd name="T40" fmla="*/ 0 w 160"/>
                <a:gd name="T41" fmla="*/ 12 h 98"/>
                <a:gd name="T42" fmla="*/ 2 w 160"/>
                <a:gd name="T43" fmla="*/ 4 h 98"/>
                <a:gd name="T44" fmla="*/ 20 w 160"/>
                <a:gd name="T45" fmla="*/ 6 h 98"/>
                <a:gd name="T46" fmla="*/ 44 w 160"/>
                <a:gd name="T47" fmla="*/ 6 h 98"/>
                <a:gd name="T48" fmla="*/ 50 w 160"/>
                <a:gd name="T49" fmla="*/ 14 h 98"/>
                <a:gd name="T50" fmla="*/ 76 w 160"/>
                <a:gd name="T51" fmla="*/ 14 h 98"/>
                <a:gd name="T52" fmla="*/ 96 w 160"/>
                <a:gd name="T53" fmla="*/ 14 h 98"/>
                <a:gd name="T54" fmla="*/ 120 w 160"/>
                <a:gd name="T55" fmla="*/ 8 h 98"/>
                <a:gd name="T56" fmla="*/ 150 w 160"/>
                <a:gd name="T5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98">
                  <a:moveTo>
                    <a:pt x="150" y="0"/>
                  </a:moveTo>
                  <a:lnTo>
                    <a:pt x="160" y="8"/>
                  </a:lnTo>
                  <a:lnTo>
                    <a:pt x="154" y="16"/>
                  </a:lnTo>
                  <a:lnTo>
                    <a:pt x="148" y="30"/>
                  </a:lnTo>
                  <a:lnTo>
                    <a:pt x="140" y="38"/>
                  </a:lnTo>
                  <a:lnTo>
                    <a:pt x="142" y="62"/>
                  </a:lnTo>
                  <a:lnTo>
                    <a:pt x="148" y="80"/>
                  </a:lnTo>
                  <a:lnTo>
                    <a:pt x="134" y="88"/>
                  </a:lnTo>
                  <a:lnTo>
                    <a:pt x="132" y="96"/>
                  </a:lnTo>
                  <a:lnTo>
                    <a:pt x="120" y="98"/>
                  </a:lnTo>
                  <a:lnTo>
                    <a:pt x="104" y="82"/>
                  </a:lnTo>
                  <a:lnTo>
                    <a:pt x="94" y="82"/>
                  </a:lnTo>
                  <a:lnTo>
                    <a:pt x="84" y="70"/>
                  </a:lnTo>
                  <a:lnTo>
                    <a:pt x="68" y="62"/>
                  </a:lnTo>
                  <a:lnTo>
                    <a:pt x="58" y="58"/>
                  </a:lnTo>
                  <a:lnTo>
                    <a:pt x="46" y="54"/>
                  </a:lnTo>
                  <a:lnTo>
                    <a:pt x="36" y="44"/>
                  </a:lnTo>
                  <a:lnTo>
                    <a:pt x="16" y="32"/>
                  </a:lnTo>
                  <a:lnTo>
                    <a:pt x="8" y="30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2" y="4"/>
                  </a:lnTo>
                  <a:lnTo>
                    <a:pt x="20" y="6"/>
                  </a:lnTo>
                  <a:lnTo>
                    <a:pt x="44" y="6"/>
                  </a:lnTo>
                  <a:lnTo>
                    <a:pt x="50" y="14"/>
                  </a:lnTo>
                  <a:lnTo>
                    <a:pt x="76" y="14"/>
                  </a:lnTo>
                  <a:lnTo>
                    <a:pt x="96" y="14"/>
                  </a:lnTo>
                  <a:lnTo>
                    <a:pt x="120" y="8"/>
                  </a:lnTo>
                  <a:lnTo>
                    <a:pt x="15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26" name="Freeform 20"/>
            <p:cNvSpPr>
              <a:spLocks/>
            </p:cNvSpPr>
            <p:nvPr/>
          </p:nvSpPr>
          <p:spPr bwMode="auto">
            <a:xfrm>
              <a:off x="1871578" y="2980804"/>
              <a:ext cx="110110" cy="71208"/>
            </a:xfrm>
            <a:custGeom>
              <a:avLst/>
              <a:gdLst>
                <a:gd name="T0" fmla="*/ 150 w 160"/>
                <a:gd name="T1" fmla="*/ 0 h 98"/>
                <a:gd name="T2" fmla="*/ 160 w 160"/>
                <a:gd name="T3" fmla="*/ 8 h 98"/>
                <a:gd name="T4" fmla="*/ 154 w 160"/>
                <a:gd name="T5" fmla="*/ 16 h 98"/>
                <a:gd name="T6" fmla="*/ 148 w 160"/>
                <a:gd name="T7" fmla="*/ 30 h 98"/>
                <a:gd name="T8" fmla="*/ 140 w 160"/>
                <a:gd name="T9" fmla="*/ 38 h 98"/>
                <a:gd name="T10" fmla="*/ 142 w 160"/>
                <a:gd name="T11" fmla="*/ 62 h 98"/>
                <a:gd name="T12" fmla="*/ 148 w 160"/>
                <a:gd name="T13" fmla="*/ 80 h 98"/>
                <a:gd name="T14" fmla="*/ 134 w 160"/>
                <a:gd name="T15" fmla="*/ 88 h 98"/>
                <a:gd name="T16" fmla="*/ 132 w 160"/>
                <a:gd name="T17" fmla="*/ 96 h 98"/>
                <a:gd name="T18" fmla="*/ 120 w 160"/>
                <a:gd name="T19" fmla="*/ 98 h 98"/>
                <a:gd name="T20" fmla="*/ 104 w 160"/>
                <a:gd name="T21" fmla="*/ 82 h 98"/>
                <a:gd name="T22" fmla="*/ 94 w 160"/>
                <a:gd name="T23" fmla="*/ 82 h 98"/>
                <a:gd name="T24" fmla="*/ 84 w 160"/>
                <a:gd name="T25" fmla="*/ 70 h 98"/>
                <a:gd name="T26" fmla="*/ 68 w 160"/>
                <a:gd name="T27" fmla="*/ 62 h 98"/>
                <a:gd name="T28" fmla="*/ 58 w 160"/>
                <a:gd name="T29" fmla="*/ 58 h 98"/>
                <a:gd name="T30" fmla="*/ 46 w 160"/>
                <a:gd name="T31" fmla="*/ 54 h 98"/>
                <a:gd name="T32" fmla="*/ 36 w 160"/>
                <a:gd name="T33" fmla="*/ 44 h 98"/>
                <a:gd name="T34" fmla="*/ 16 w 160"/>
                <a:gd name="T35" fmla="*/ 32 h 98"/>
                <a:gd name="T36" fmla="*/ 8 w 160"/>
                <a:gd name="T37" fmla="*/ 30 h 98"/>
                <a:gd name="T38" fmla="*/ 0 w 160"/>
                <a:gd name="T39" fmla="*/ 22 h 98"/>
                <a:gd name="T40" fmla="*/ 0 w 160"/>
                <a:gd name="T41" fmla="*/ 12 h 98"/>
                <a:gd name="T42" fmla="*/ 2 w 160"/>
                <a:gd name="T43" fmla="*/ 4 h 98"/>
                <a:gd name="T44" fmla="*/ 20 w 160"/>
                <a:gd name="T45" fmla="*/ 6 h 98"/>
                <a:gd name="T46" fmla="*/ 44 w 160"/>
                <a:gd name="T47" fmla="*/ 6 h 98"/>
                <a:gd name="T48" fmla="*/ 50 w 160"/>
                <a:gd name="T49" fmla="*/ 14 h 98"/>
                <a:gd name="T50" fmla="*/ 76 w 160"/>
                <a:gd name="T51" fmla="*/ 14 h 98"/>
                <a:gd name="T52" fmla="*/ 96 w 160"/>
                <a:gd name="T53" fmla="*/ 14 h 98"/>
                <a:gd name="T54" fmla="*/ 120 w 160"/>
                <a:gd name="T55" fmla="*/ 8 h 98"/>
                <a:gd name="T56" fmla="*/ 150 w 160"/>
                <a:gd name="T5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0" h="98">
                  <a:moveTo>
                    <a:pt x="150" y="0"/>
                  </a:moveTo>
                  <a:lnTo>
                    <a:pt x="160" y="8"/>
                  </a:lnTo>
                  <a:lnTo>
                    <a:pt x="154" y="16"/>
                  </a:lnTo>
                  <a:lnTo>
                    <a:pt x="148" y="30"/>
                  </a:lnTo>
                  <a:lnTo>
                    <a:pt x="140" y="38"/>
                  </a:lnTo>
                  <a:lnTo>
                    <a:pt x="142" y="62"/>
                  </a:lnTo>
                  <a:lnTo>
                    <a:pt x="148" y="80"/>
                  </a:lnTo>
                  <a:lnTo>
                    <a:pt x="134" y="88"/>
                  </a:lnTo>
                  <a:lnTo>
                    <a:pt x="132" y="96"/>
                  </a:lnTo>
                  <a:lnTo>
                    <a:pt x="120" y="98"/>
                  </a:lnTo>
                  <a:lnTo>
                    <a:pt x="104" y="82"/>
                  </a:lnTo>
                  <a:lnTo>
                    <a:pt x="94" y="82"/>
                  </a:lnTo>
                  <a:lnTo>
                    <a:pt x="84" y="70"/>
                  </a:lnTo>
                  <a:lnTo>
                    <a:pt x="68" y="62"/>
                  </a:lnTo>
                  <a:lnTo>
                    <a:pt x="58" y="58"/>
                  </a:lnTo>
                  <a:lnTo>
                    <a:pt x="46" y="54"/>
                  </a:lnTo>
                  <a:lnTo>
                    <a:pt x="36" y="44"/>
                  </a:lnTo>
                  <a:lnTo>
                    <a:pt x="16" y="32"/>
                  </a:lnTo>
                  <a:lnTo>
                    <a:pt x="8" y="30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2" y="4"/>
                  </a:lnTo>
                  <a:lnTo>
                    <a:pt x="20" y="6"/>
                  </a:lnTo>
                  <a:lnTo>
                    <a:pt x="44" y="6"/>
                  </a:lnTo>
                  <a:lnTo>
                    <a:pt x="50" y="14"/>
                  </a:lnTo>
                  <a:lnTo>
                    <a:pt x="76" y="14"/>
                  </a:lnTo>
                  <a:lnTo>
                    <a:pt x="96" y="14"/>
                  </a:lnTo>
                  <a:lnTo>
                    <a:pt x="120" y="8"/>
                  </a:lnTo>
                  <a:lnTo>
                    <a:pt x="15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27" name="Freeform 21"/>
            <p:cNvSpPr>
              <a:spLocks/>
            </p:cNvSpPr>
            <p:nvPr/>
          </p:nvSpPr>
          <p:spPr bwMode="auto">
            <a:xfrm>
              <a:off x="1718800" y="2565182"/>
              <a:ext cx="374373" cy="435967"/>
            </a:xfrm>
            <a:custGeom>
              <a:avLst/>
              <a:gdLst>
                <a:gd name="T0" fmla="*/ 416 w 544"/>
                <a:gd name="T1" fmla="*/ 592 h 600"/>
                <a:gd name="T2" fmla="*/ 448 w 544"/>
                <a:gd name="T3" fmla="*/ 536 h 600"/>
                <a:gd name="T4" fmla="*/ 462 w 544"/>
                <a:gd name="T5" fmla="*/ 516 h 600"/>
                <a:gd name="T6" fmla="*/ 452 w 544"/>
                <a:gd name="T7" fmla="*/ 490 h 600"/>
                <a:gd name="T8" fmla="*/ 438 w 544"/>
                <a:gd name="T9" fmla="*/ 486 h 600"/>
                <a:gd name="T10" fmla="*/ 448 w 544"/>
                <a:gd name="T11" fmla="*/ 466 h 600"/>
                <a:gd name="T12" fmla="*/ 466 w 544"/>
                <a:gd name="T13" fmla="*/ 436 h 600"/>
                <a:gd name="T14" fmla="*/ 518 w 544"/>
                <a:gd name="T15" fmla="*/ 470 h 600"/>
                <a:gd name="T16" fmla="*/ 538 w 544"/>
                <a:gd name="T17" fmla="*/ 470 h 600"/>
                <a:gd name="T18" fmla="*/ 522 w 544"/>
                <a:gd name="T19" fmla="*/ 430 h 600"/>
                <a:gd name="T20" fmla="*/ 506 w 544"/>
                <a:gd name="T21" fmla="*/ 428 h 600"/>
                <a:gd name="T22" fmla="*/ 448 w 544"/>
                <a:gd name="T23" fmla="*/ 382 h 600"/>
                <a:gd name="T24" fmla="*/ 412 w 544"/>
                <a:gd name="T25" fmla="*/ 358 h 600"/>
                <a:gd name="T26" fmla="*/ 416 w 544"/>
                <a:gd name="T27" fmla="*/ 342 h 600"/>
                <a:gd name="T28" fmla="*/ 362 w 544"/>
                <a:gd name="T29" fmla="*/ 318 h 600"/>
                <a:gd name="T30" fmla="*/ 336 w 544"/>
                <a:gd name="T31" fmla="*/ 296 h 600"/>
                <a:gd name="T32" fmla="*/ 280 w 544"/>
                <a:gd name="T33" fmla="*/ 212 h 600"/>
                <a:gd name="T34" fmla="*/ 268 w 544"/>
                <a:gd name="T35" fmla="*/ 144 h 600"/>
                <a:gd name="T36" fmla="*/ 252 w 544"/>
                <a:gd name="T37" fmla="*/ 118 h 600"/>
                <a:gd name="T38" fmla="*/ 298 w 544"/>
                <a:gd name="T39" fmla="*/ 98 h 600"/>
                <a:gd name="T40" fmla="*/ 320 w 544"/>
                <a:gd name="T41" fmla="*/ 50 h 600"/>
                <a:gd name="T42" fmla="*/ 272 w 544"/>
                <a:gd name="T43" fmla="*/ 30 h 600"/>
                <a:gd name="T44" fmla="*/ 264 w 544"/>
                <a:gd name="T45" fmla="*/ 12 h 600"/>
                <a:gd name="T46" fmla="*/ 194 w 544"/>
                <a:gd name="T47" fmla="*/ 4 h 600"/>
                <a:gd name="T48" fmla="*/ 162 w 544"/>
                <a:gd name="T49" fmla="*/ 38 h 600"/>
                <a:gd name="T50" fmla="*/ 134 w 544"/>
                <a:gd name="T51" fmla="*/ 34 h 600"/>
                <a:gd name="T52" fmla="*/ 98 w 544"/>
                <a:gd name="T53" fmla="*/ 46 h 600"/>
                <a:gd name="T54" fmla="*/ 86 w 544"/>
                <a:gd name="T55" fmla="*/ 22 h 600"/>
                <a:gd name="T56" fmla="*/ 66 w 544"/>
                <a:gd name="T57" fmla="*/ 42 h 600"/>
                <a:gd name="T58" fmla="*/ 16 w 544"/>
                <a:gd name="T59" fmla="*/ 62 h 600"/>
                <a:gd name="T60" fmla="*/ 6 w 544"/>
                <a:gd name="T61" fmla="*/ 100 h 600"/>
                <a:gd name="T62" fmla="*/ 0 w 544"/>
                <a:gd name="T63" fmla="*/ 136 h 600"/>
                <a:gd name="T64" fmla="*/ 22 w 544"/>
                <a:gd name="T65" fmla="*/ 150 h 600"/>
                <a:gd name="T66" fmla="*/ 38 w 544"/>
                <a:gd name="T67" fmla="*/ 180 h 600"/>
                <a:gd name="T68" fmla="*/ 90 w 544"/>
                <a:gd name="T69" fmla="*/ 152 h 600"/>
                <a:gd name="T70" fmla="*/ 140 w 544"/>
                <a:gd name="T71" fmla="*/ 196 h 600"/>
                <a:gd name="T72" fmla="*/ 162 w 544"/>
                <a:gd name="T73" fmla="*/ 254 h 600"/>
                <a:gd name="T74" fmla="*/ 200 w 544"/>
                <a:gd name="T75" fmla="*/ 286 h 600"/>
                <a:gd name="T76" fmla="*/ 250 w 544"/>
                <a:gd name="T77" fmla="*/ 346 h 600"/>
                <a:gd name="T78" fmla="*/ 326 w 544"/>
                <a:gd name="T79" fmla="*/ 400 h 600"/>
                <a:gd name="T80" fmla="*/ 350 w 544"/>
                <a:gd name="T81" fmla="*/ 418 h 600"/>
                <a:gd name="T82" fmla="*/ 370 w 544"/>
                <a:gd name="T83" fmla="*/ 454 h 600"/>
                <a:gd name="T84" fmla="*/ 400 w 544"/>
                <a:gd name="T85" fmla="*/ 466 h 600"/>
                <a:gd name="T86" fmla="*/ 410 w 544"/>
                <a:gd name="T87" fmla="*/ 514 h 600"/>
                <a:gd name="T88" fmla="*/ 402 w 544"/>
                <a:gd name="T89" fmla="*/ 548 h 600"/>
                <a:gd name="T90" fmla="*/ 394 w 544"/>
                <a:gd name="T91" fmla="*/ 592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44" h="600">
                  <a:moveTo>
                    <a:pt x="394" y="592"/>
                  </a:moveTo>
                  <a:lnTo>
                    <a:pt x="402" y="600"/>
                  </a:lnTo>
                  <a:lnTo>
                    <a:pt x="416" y="592"/>
                  </a:lnTo>
                  <a:lnTo>
                    <a:pt x="432" y="570"/>
                  </a:lnTo>
                  <a:lnTo>
                    <a:pt x="440" y="538"/>
                  </a:lnTo>
                  <a:lnTo>
                    <a:pt x="448" y="536"/>
                  </a:lnTo>
                  <a:lnTo>
                    <a:pt x="454" y="540"/>
                  </a:lnTo>
                  <a:lnTo>
                    <a:pt x="466" y="530"/>
                  </a:lnTo>
                  <a:lnTo>
                    <a:pt x="462" y="516"/>
                  </a:lnTo>
                  <a:lnTo>
                    <a:pt x="468" y="506"/>
                  </a:lnTo>
                  <a:lnTo>
                    <a:pt x="466" y="500"/>
                  </a:lnTo>
                  <a:lnTo>
                    <a:pt x="452" y="490"/>
                  </a:lnTo>
                  <a:lnTo>
                    <a:pt x="446" y="490"/>
                  </a:lnTo>
                  <a:lnTo>
                    <a:pt x="448" y="484"/>
                  </a:lnTo>
                  <a:lnTo>
                    <a:pt x="438" y="486"/>
                  </a:lnTo>
                  <a:lnTo>
                    <a:pt x="432" y="482"/>
                  </a:lnTo>
                  <a:lnTo>
                    <a:pt x="432" y="476"/>
                  </a:lnTo>
                  <a:lnTo>
                    <a:pt x="448" y="466"/>
                  </a:lnTo>
                  <a:lnTo>
                    <a:pt x="456" y="454"/>
                  </a:lnTo>
                  <a:lnTo>
                    <a:pt x="456" y="438"/>
                  </a:lnTo>
                  <a:lnTo>
                    <a:pt x="466" y="436"/>
                  </a:lnTo>
                  <a:lnTo>
                    <a:pt x="492" y="450"/>
                  </a:lnTo>
                  <a:lnTo>
                    <a:pt x="504" y="452"/>
                  </a:lnTo>
                  <a:lnTo>
                    <a:pt x="518" y="470"/>
                  </a:lnTo>
                  <a:lnTo>
                    <a:pt x="522" y="482"/>
                  </a:lnTo>
                  <a:lnTo>
                    <a:pt x="530" y="482"/>
                  </a:lnTo>
                  <a:lnTo>
                    <a:pt x="538" y="470"/>
                  </a:lnTo>
                  <a:lnTo>
                    <a:pt x="544" y="460"/>
                  </a:lnTo>
                  <a:lnTo>
                    <a:pt x="534" y="442"/>
                  </a:lnTo>
                  <a:lnTo>
                    <a:pt x="522" y="430"/>
                  </a:lnTo>
                  <a:lnTo>
                    <a:pt x="512" y="430"/>
                  </a:lnTo>
                  <a:lnTo>
                    <a:pt x="512" y="428"/>
                  </a:lnTo>
                  <a:lnTo>
                    <a:pt x="506" y="428"/>
                  </a:lnTo>
                  <a:lnTo>
                    <a:pt x="478" y="400"/>
                  </a:lnTo>
                  <a:lnTo>
                    <a:pt x="466" y="404"/>
                  </a:lnTo>
                  <a:lnTo>
                    <a:pt x="448" y="382"/>
                  </a:lnTo>
                  <a:lnTo>
                    <a:pt x="438" y="380"/>
                  </a:lnTo>
                  <a:lnTo>
                    <a:pt x="420" y="364"/>
                  </a:lnTo>
                  <a:lnTo>
                    <a:pt x="412" y="358"/>
                  </a:lnTo>
                  <a:lnTo>
                    <a:pt x="418" y="354"/>
                  </a:lnTo>
                  <a:lnTo>
                    <a:pt x="426" y="350"/>
                  </a:lnTo>
                  <a:lnTo>
                    <a:pt x="416" y="342"/>
                  </a:lnTo>
                  <a:lnTo>
                    <a:pt x="402" y="348"/>
                  </a:lnTo>
                  <a:lnTo>
                    <a:pt x="392" y="342"/>
                  </a:lnTo>
                  <a:lnTo>
                    <a:pt x="362" y="318"/>
                  </a:lnTo>
                  <a:lnTo>
                    <a:pt x="358" y="308"/>
                  </a:lnTo>
                  <a:lnTo>
                    <a:pt x="348" y="304"/>
                  </a:lnTo>
                  <a:lnTo>
                    <a:pt x="336" y="296"/>
                  </a:lnTo>
                  <a:lnTo>
                    <a:pt x="308" y="238"/>
                  </a:lnTo>
                  <a:lnTo>
                    <a:pt x="300" y="230"/>
                  </a:lnTo>
                  <a:lnTo>
                    <a:pt x="280" y="212"/>
                  </a:lnTo>
                  <a:lnTo>
                    <a:pt x="254" y="174"/>
                  </a:lnTo>
                  <a:lnTo>
                    <a:pt x="254" y="152"/>
                  </a:lnTo>
                  <a:lnTo>
                    <a:pt x="268" y="144"/>
                  </a:lnTo>
                  <a:lnTo>
                    <a:pt x="268" y="134"/>
                  </a:lnTo>
                  <a:lnTo>
                    <a:pt x="258" y="124"/>
                  </a:lnTo>
                  <a:lnTo>
                    <a:pt x="252" y="118"/>
                  </a:lnTo>
                  <a:lnTo>
                    <a:pt x="254" y="110"/>
                  </a:lnTo>
                  <a:lnTo>
                    <a:pt x="266" y="104"/>
                  </a:lnTo>
                  <a:lnTo>
                    <a:pt x="298" y="98"/>
                  </a:lnTo>
                  <a:lnTo>
                    <a:pt x="312" y="88"/>
                  </a:lnTo>
                  <a:lnTo>
                    <a:pt x="322" y="78"/>
                  </a:lnTo>
                  <a:lnTo>
                    <a:pt x="320" y="50"/>
                  </a:lnTo>
                  <a:lnTo>
                    <a:pt x="322" y="40"/>
                  </a:lnTo>
                  <a:lnTo>
                    <a:pt x="306" y="38"/>
                  </a:lnTo>
                  <a:lnTo>
                    <a:pt x="272" y="30"/>
                  </a:lnTo>
                  <a:lnTo>
                    <a:pt x="266" y="22"/>
                  </a:lnTo>
                  <a:lnTo>
                    <a:pt x="264" y="20"/>
                  </a:lnTo>
                  <a:lnTo>
                    <a:pt x="264" y="12"/>
                  </a:lnTo>
                  <a:lnTo>
                    <a:pt x="260" y="4"/>
                  </a:lnTo>
                  <a:lnTo>
                    <a:pt x="240" y="0"/>
                  </a:lnTo>
                  <a:lnTo>
                    <a:pt x="194" y="4"/>
                  </a:lnTo>
                  <a:lnTo>
                    <a:pt x="190" y="14"/>
                  </a:lnTo>
                  <a:lnTo>
                    <a:pt x="172" y="16"/>
                  </a:lnTo>
                  <a:lnTo>
                    <a:pt x="162" y="38"/>
                  </a:lnTo>
                  <a:lnTo>
                    <a:pt x="162" y="46"/>
                  </a:lnTo>
                  <a:lnTo>
                    <a:pt x="152" y="38"/>
                  </a:lnTo>
                  <a:lnTo>
                    <a:pt x="134" y="34"/>
                  </a:lnTo>
                  <a:lnTo>
                    <a:pt x="124" y="40"/>
                  </a:lnTo>
                  <a:lnTo>
                    <a:pt x="116" y="56"/>
                  </a:lnTo>
                  <a:lnTo>
                    <a:pt x="98" y="46"/>
                  </a:lnTo>
                  <a:lnTo>
                    <a:pt x="102" y="30"/>
                  </a:lnTo>
                  <a:lnTo>
                    <a:pt x="96" y="20"/>
                  </a:lnTo>
                  <a:lnTo>
                    <a:pt x="86" y="22"/>
                  </a:lnTo>
                  <a:lnTo>
                    <a:pt x="82" y="34"/>
                  </a:lnTo>
                  <a:lnTo>
                    <a:pt x="74" y="42"/>
                  </a:lnTo>
                  <a:lnTo>
                    <a:pt x="66" y="42"/>
                  </a:lnTo>
                  <a:lnTo>
                    <a:pt x="28" y="38"/>
                  </a:lnTo>
                  <a:lnTo>
                    <a:pt x="14" y="48"/>
                  </a:lnTo>
                  <a:lnTo>
                    <a:pt x="16" y="62"/>
                  </a:lnTo>
                  <a:lnTo>
                    <a:pt x="20" y="72"/>
                  </a:lnTo>
                  <a:lnTo>
                    <a:pt x="0" y="88"/>
                  </a:lnTo>
                  <a:lnTo>
                    <a:pt x="6" y="100"/>
                  </a:lnTo>
                  <a:lnTo>
                    <a:pt x="12" y="104"/>
                  </a:lnTo>
                  <a:lnTo>
                    <a:pt x="0" y="118"/>
                  </a:lnTo>
                  <a:lnTo>
                    <a:pt x="0" y="136"/>
                  </a:lnTo>
                  <a:lnTo>
                    <a:pt x="6" y="144"/>
                  </a:lnTo>
                  <a:lnTo>
                    <a:pt x="16" y="144"/>
                  </a:lnTo>
                  <a:lnTo>
                    <a:pt x="22" y="150"/>
                  </a:lnTo>
                  <a:lnTo>
                    <a:pt x="28" y="164"/>
                  </a:lnTo>
                  <a:lnTo>
                    <a:pt x="28" y="178"/>
                  </a:lnTo>
                  <a:lnTo>
                    <a:pt x="38" y="180"/>
                  </a:lnTo>
                  <a:lnTo>
                    <a:pt x="46" y="178"/>
                  </a:lnTo>
                  <a:lnTo>
                    <a:pt x="78" y="148"/>
                  </a:lnTo>
                  <a:lnTo>
                    <a:pt x="90" y="152"/>
                  </a:lnTo>
                  <a:lnTo>
                    <a:pt x="118" y="166"/>
                  </a:lnTo>
                  <a:lnTo>
                    <a:pt x="138" y="180"/>
                  </a:lnTo>
                  <a:lnTo>
                    <a:pt x="140" y="196"/>
                  </a:lnTo>
                  <a:lnTo>
                    <a:pt x="152" y="206"/>
                  </a:lnTo>
                  <a:lnTo>
                    <a:pt x="156" y="226"/>
                  </a:lnTo>
                  <a:lnTo>
                    <a:pt x="162" y="254"/>
                  </a:lnTo>
                  <a:lnTo>
                    <a:pt x="170" y="268"/>
                  </a:lnTo>
                  <a:lnTo>
                    <a:pt x="180" y="280"/>
                  </a:lnTo>
                  <a:lnTo>
                    <a:pt x="200" y="286"/>
                  </a:lnTo>
                  <a:lnTo>
                    <a:pt x="216" y="312"/>
                  </a:lnTo>
                  <a:lnTo>
                    <a:pt x="232" y="334"/>
                  </a:lnTo>
                  <a:lnTo>
                    <a:pt x="250" y="346"/>
                  </a:lnTo>
                  <a:lnTo>
                    <a:pt x="280" y="380"/>
                  </a:lnTo>
                  <a:lnTo>
                    <a:pt x="300" y="380"/>
                  </a:lnTo>
                  <a:lnTo>
                    <a:pt x="326" y="400"/>
                  </a:lnTo>
                  <a:lnTo>
                    <a:pt x="326" y="422"/>
                  </a:lnTo>
                  <a:lnTo>
                    <a:pt x="334" y="428"/>
                  </a:lnTo>
                  <a:lnTo>
                    <a:pt x="350" y="418"/>
                  </a:lnTo>
                  <a:lnTo>
                    <a:pt x="352" y="428"/>
                  </a:lnTo>
                  <a:lnTo>
                    <a:pt x="352" y="442"/>
                  </a:lnTo>
                  <a:lnTo>
                    <a:pt x="370" y="454"/>
                  </a:lnTo>
                  <a:lnTo>
                    <a:pt x="374" y="462"/>
                  </a:lnTo>
                  <a:lnTo>
                    <a:pt x="396" y="458"/>
                  </a:lnTo>
                  <a:lnTo>
                    <a:pt x="400" y="466"/>
                  </a:lnTo>
                  <a:lnTo>
                    <a:pt x="396" y="484"/>
                  </a:lnTo>
                  <a:lnTo>
                    <a:pt x="408" y="500"/>
                  </a:lnTo>
                  <a:lnTo>
                    <a:pt x="410" y="514"/>
                  </a:lnTo>
                  <a:lnTo>
                    <a:pt x="416" y="528"/>
                  </a:lnTo>
                  <a:lnTo>
                    <a:pt x="412" y="538"/>
                  </a:lnTo>
                  <a:lnTo>
                    <a:pt x="402" y="548"/>
                  </a:lnTo>
                  <a:lnTo>
                    <a:pt x="400" y="562"/>
                  </a:lnTo>
                  <a:lnTo>
                    <a:pt x="392" y="578"/>
                  </a:lnTo>
                  <a:lnTo>
                    <a:pt x="394" y="59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28" name="Freeform 22"/>
            <p:cNvSpPr>
              <a:spLocks/>
            </p:cNvSpPr>
            <p:nvPr/>
          </p:nvSpPr>
          <p:spPr bwMode="auto">
            <a:xfrm>
              <a:off x="1718800" y="2565182"/>
              <a:ext cx="374373" cy="435967"/>
            </a:xfrm>
            <a:custGeom>
              <a:avLst/>
              <a:gdLst>
                <a:gd name="T0" fmla="*/ 416 w 544"/>
                <a:gd name="T1" fmla="*/ 592 h 600"/>
                <a:gd name="T2" fmla="*/ 448 w 544"/>
                <a:gd name="T3" fmla="*/ 536 h 600"/>
                <a:gd name="T4" fmla="*/ 462 w 544"/>
                <a:gd name="T5" fmla="*/ 516 h 600"/>
                <a:gd name="T6" fmla="*/ 452 w 544"/>
                <a:gd name="T7" fmla="*/ 490 h 600"/>
                <a:gd name="T8" fmla="*/ 438 w 544"/>
                <a:gd name="T9" fmla="*/ 486 h 600"/>
                <a:gd name="T10" fmla="*/ 448 w 544"/>
                <a:gd name="T11" fmla="*/ 466 h 600"/>
                <a:gd name="T12" fmla="*/ 466 w 544"/>
                <a:gd name="T13" fmla="*/ 436 h 600"/>
                <a:gd name="T14" fmla="*/ 518 w 544"/>
                <a:gd name="T15" fmla="*/ 470 h 600"/>
                <a:gd name="T16" fmla="*/ 538 w 544"/>
                <a:gd name="T17" fmla="*/ 470 h 600"/>
                <a:gd name="T18" fmla="*/ 522 w 544"/>
                <a:gd name="T19" fmla="*/ 430 h 600"/>
                <a:gd name="T20" fmla="*/ 506 w 544"/>
                <a:gd name="T21" fmla="*/ 428 h 600"/>
                <a:gd name="T22" fmla="*/ 448 w 544"/>
                <a:gd name="T23" fmla="*/ 382 h 600"/>
                <a:gd name="T24" fmla="*/ 412 w 544"/>
                <a:gd name="T25" fmla="*/ 358 h 600"/>
                <a:gd name="T26" fmla="*/ 416 w 544"/>
                <a:gd name="T27" fmla="*/ 342 h 600"/>
                <a:gd name="T28" fmla="*/ 362 w 544"/>
                <a:gd name="T29" fmla="*/ 318 h 600"/>
                <a:gd name="T30" fmla="*/ 336 w 544"/>
                <a:gd name="T31" fmla="*/ 296 h 600"/>
                <a:gd name="T32" fmla="*/ 280 w 544"/>
                <a:gd name="T33" fmla="*/ 212 h 600"/>
                <a:gd name="T34" fmla="*/ 268 w 544"/>
                <a:gd name="T35" fmla="*/ 144 h 600"/>
                <a:gd name="T36" fmla="*/ 252 w 544"/>
                <a:gd name="T37" fmla="*/ 118 h 600"/>
                <a:gd name="T38" fmla="*/ 298 w 544"/>
                <a:gd name="T39" fmla="*/ 98 h 600"/>
                <a:gd name="T40" fmla="*/ 320 w 544"/>
                <a:gd name="T41" fmla="*/ 50 h 600"/>
                <a:gd name="T42" fmla="*/ 272 w 544"/>
                <a:gd name="T43" fmla="*/ 30 h 600"/>
                <a:gd name="T44" fmla="*/ 264 w 544"/>
                <a:gd name="T45" fmla="*/ 12 h 600"/>
                <a:gd name="T46" fmla="*/ 194 w 544"/>
                <a:gd name="T47" fmla="*/ 4 h 600"/>
                <a:gd name="T48" fmla="*/ 162 w 544"/>
                <a:gd name="T49" fmla="*/ 38 h 600"/>
                <a:gd name="T50" fmla="*/ 134 w 544"/>
                <a:gd name="T51" fmla="*/ 34 h 600"/>
                <a:gd name="T52" fmla="*/ 98 w 544"/>
                <a:gd name="T53" fmla="*/ 46 h 600"/>
                <a:gd name="T54" fmla="*/ 86 w 544"/>
                <a:gd name="T55" fmla="*/ 22 h 600"/>
                <a:gd name="T56" fmla="*/ 66 w 544"/>
                <a:gd name="T57" fmla="*/ 42 h 600"/>
                <a:gd name="T58" fmla="*/ 16 w 544"/>
                <a:gd name="T59" fmla="*/ 62 h 600"/>
                <a:gd name="T60" fmla="*/ 6 w 544"/>
                <a:gd name="T61" fmla="*/ 100 h 600"/>
                <a:gd name="T62" fmla="*/ 0 w 544"/>
                <a:gd name="T63" fmla="*/ 136 h 600"/>
                <a:gd name="T64" fmla="*/ 22 w 544"/>
                <a:gd name="T65" fmla="*/ 150 h 600"/>
                <a:gd name="T66" fmla="*/ 38 w 544"/>
                <a:gd name="T67" fmla="*/ 180 h 600"/>
                <a:gd name="T68" fmla="*/ 90 w 544"/>
                <a:gd name="T69" fmla="*/ 152 h 600"/>
                <a:gd name="T70" fmla="*/ 140 w 544"/>
                <a:gd name="T71" fmla="*/ 196 h 600"/>
                <a:gd name="T72" fmla="*/ 162 w 544"/>
                <a:gd name="T73" fmla="*/ 254 h 600"/>
                <a:gd name="T74" fmla="*/ 200 w 544"/>
                <a:gd name="T75" fmla="*/ 286 h 600"/>
                <a:gd name="T76" fmla="*/ 250 w 544"/>
                <a:gd name="T77" fmla="*/ 346 h 600"/>
                <a:gd name="T78" fmla="*/ 326 w 544"/>
                <a:gd name="T79" fmla="*/ 400 h 600"/>
                <a:gd name="T80" fmla="*/ 350 w 544"/>
                <a:gd name="T81" fmla="*/ 418 h 600"/>
                <a:gd name="T82" fmla="*/ 370 w 544"/>
                <a:gd name="T83" fmla="*/ 454 h 600"/>
                <a:gd name="T84" fmla="*/ 400 w 544"/>
                <a:gd name="T85" fmla="*/ 466 h 600"/>
                <a:gd name="T86" fmla="*/ 410 w 544"/>
                <a:gd name="T87" fmla="*/ 514 h 600"/>
                <a:gd name="T88" fmla="*/ 402 w 544"/>
                <a:gd name="T89" fmla="*/ 548 h 600"/>
                <a:gd name="T90" fmla="*/ 394 w 544"/>
                <a:gd name="T91" fmla="*/ 592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44" h="600">
                  <a:moveTo>
                    <a:pt x="394" y="592"/>
                  </a:moveTo>
                  <a:lnTo>
                    <a:pt x="402" y="600"/>
                  </a:lnTo>
                  <a:lnTo>
                    <a:pt x="416" y="592"/>
                  </a:lnTo>
                  <a:lnTo>
                    <a:pt x="432" y="570"/>
                  </a:lnTo>
                  <a:lnTo>
                    <a:pt x="440" y="538"/>
                  </a:lnTo>
                  <a:lnTo>
                    <a:pt x="448" y="536"/>
                  </a:lnTo>
                  <a:lnTo>
                    <a:pt x="454" y="540"/>
                  </a:lnTo>
                  <a:lnTo>
                    <a:pt x="466" y="530"/>
                  </a:lnTo>
                  <a:lnTo>
                    <a:pt x="462" y="516"/>
                  </a:lnTo>
                  <a:lnTo>
                    <a:pt x="468" y="506"/>
                  </a:lnTo>
                  <a:lnTo>
                    <a:pt x="466" y="500"/>
                  </a:lnTo>
                  <a:lnTo>
                    <a:pt x="452" y="490"/>
                  </a:lnTo>
                  <a:lnTo>
                    <a:pt x="446" y="490"/>
                  </a:lnTo>
                  <a:lnTo>
                    <a:pt x="448" y="484"/>
                  </a:lnTo>
                  <a:lnTo>
                    <a:pt x="438" y="486"/>
                  </a:lnTo>
                  <a:lnTo>
                    <a:pt x="432" y="482"/>
                  </a:lnTo>
                  <a:lnTo>
                    <a:pt x="432" y="476"/>
                  </a:lnTo>
                  <a:lnTo>
                    <a:pt x="448" y="466"/>
                  </a:lnTo>
                  <a:lnTo>
                    <a:pt x="456" y="454"/>
                  </a:lnTo>
                  <a:lnTo>
                    <a:pt x="456" y="438"/>
                  </a:lnTo>
                  <a:lnTo>
                    <a:pt x="466" y="436"/>
                  </a:lnTo>
                  <a:lnTo>
                    <a:pt x="492" y="450"/>
                  </a:lnTo>
                  <a:lnTo>
                    <a:pt x="504" y="452"/>
                  </a:lnTo>
                  <a:lnTo>
                    <a:pt x="518" y="470"/>
                  </a:lnTo>
                  <a:lnTo>
                    <a:pt x="522" y="482"/>
                  </a:lnTo>
                  <a:lnTo>
                    <a:pt x="530" y="482"/>
                  </a:lnTo>
                  <a:lnTo>
                    <a:pt x="538" y="470"/>
                  </a:lnTo>
                  <a:lnTo>
                    <a:pt x="544" y="460"/>
                  </a:lnTo>
                  <a:lnTo>
                    <a:pt x="534" y="442"/>
                  </a:lnTo>
                  <a:lnTo>
                    <a:pt x="522" y="430"/>
                  </a:lnTo>
                  <a:lnTo>
                    <a:pt x="512" y="430"/>
                  </a:lnTo>
                  <a:lnTo>
                    <a:pt x="512" y="428"/>
                  </a:lnTo>
                  <a:lnTo>
                    <a:pt x="506" y="428"/>
                  </a:lnTo>
                  <a:lnTo>
                    <a:pt x="478" y="400"/>
                  </a:lnTo>
                  <a:lnTo>
                    <a:pt x="466" y="404"/>
                  </a:lnTo>
                  <a:lnTo>
                    <a:pt x="448" y="382"/>
                  </a:lnTo>
                  <a:lnTo>
                    <a:pt x="438" y="380"/>
                  </a:lnTo>
                  <a:lnTo>
                    <a:pt x="420" y="364"/>
                  </a:lnTo>
                  <a:lnTo>
                    <a:pt x="412" y="358"/>
                  </a:lnTo>
                  <a:lnTo>
                    <a:pt x="418" y="354"/>
                  </a:lnTo>
                  <a:lnTo>
                    <a:pt x="426" y="350"/>
                  </a:lnTo>
                  <a:lnTo>
                    <a:pt x="416" y="342"/>
                  </a:lnTo>
                  <a:lnTo>
                    <a:pt x="402" y="348"/>
                  </a:lnTo>
                  <a:lnTo>
                    <a:pt x="392" y="342"/>
                  </a:lnTo>
                  <a:lnTo>
                    <a:pt x="362" y="318"/>
                  </a:lnTo>
                  <a:lnTo>
                    <a:pt x="358" y="308"/>
                  </a:lnTo>
                  <a:lnTo>
                    <a:pt x="348" y="304"/>
                  </a:lnTo>
                  <a:lnTo>
                    <a:pt x="336" y="296"/>
                  </a:lnTo>
                  <a:lnTo>
                    <a:pt x="308" y="238"/>
                  </a:lnTo>
                  <a:lnTo>
                    <a:pt x="300" y="230"/>
                  </a:lnTo>
                  <a:lnTo>
                    <a:pt x="280" y="212"/>
                  </a:lnTo>
                  <a:lnTo>
                    <a:pt x="254" y="174"/>
                  </a:lnTo>
                  <a:lnTo>
                    <a:pt x="254" y="152"/>
                  </a:lnTo>
                  <a:lnTo>
                    <a:pt x="268" y="144"/>
                  </a:lnTo>
                  <a:lnTo>
                    <a:pt x="268" y="134"/>
                  </a:lnTo>
                  <a:lnTo>
                    <a:pt x="258" y="124"/>
                  </a:lnTo>
                  <a:lnTo>
                    <a:pt x="252" y="118"/>
                  </a:lnTo>
                  <a:lnTo>
                    <a:pt x="254" y="110"/>
                  </a:lnTo>
                  <a:lnTo>
                    <a:pt x="266" y="104"/>
                  </a:lnTo>
                  <a:lnTo>
                    <a:pt x="298" y="98"/>
                  </a:lnTo>
                  <a:lnTo>
                    <a:pt x="312" y="88"/>
                  </a:lnTo>
                  <a:lnTo>
                    <a:pt x="322" y="78"/>
                  </a:lnTo>
                  <a:lnTo>
                    <a:pt x="320" y="50"/>
                  </a:lnTo>
                  <a:lnTo>
                    <a:pt x="322" y="40"/>
                  </a:lnTo>
                  <a:lnTo>
                    <a:pt x="306" y="38"/>
                  </a:lnTo>
                  <a:lnTo>
                    <a:pt x="272" y="30"/>
                  </a:lnTo>
                  <a:lnTo>
                    <a:pt x="266" y="22"/>
                  </a:lnTo>
                  <a:lnTo>
                    <a:pt x="264" y="20"/>
                  </a:lnTo>
                  <a:lnTo>
                    <a:pt x="264" y="12"/>
                  </a:lnTo>
                  <a:lnTo>
                    <a:pt x="260" y="4"/>
                  </a:lnTo>
                  <a:lnTo>
                    <a:pt x="240" y="0"/>
                  </a:lnTo>
                  <a:lnTo>
                    <a:pt x="194" y="4"/>
                  </a:lnTo>
                  <a:lnTo>
                    <a:pt x="190" y="14"/>
                  </a:lnTo>
                  <a:lnTo>
                    <a:pt x="172" y="16"/>
                  </a:lnTo>
                  <a:lnTo>
                    <a:pt x="162" y="38"/>
                  </a:lnTo>
                  <a:lnTo>
                    <a:pt x="162" y="46"/>
                  </a:lnTo>
                  <a:lnTo>
                    <a:pt x="152" y="38"/>
                  </a:lnTo>
                  <a:lnTo>
                    <a:pt x="134" y="34"/>
                  </a:lnTo>
                  <a:lnTo>
                    <a:pt x="124" y="40"/>
                  </a:lnTo>
                  <a:lnTo>
                    <a:pt x="116" y="56"/>
                  </a:lnTo>
                  <a:lnTo>
                    <a:pt x="98" y="46"/>
                  </a:lnTo>
                  <a:lnTo>
                    <a:pt x="102" y="30"/>
                  </a:lnTo>
                  <a:lnTo>
                    <a:pt x="96" y="20"/>
                  </a:lnTo>
                  <a:lnTo>
                    <a:pt x="86" y="22"/>
                  </a:lnTo>
                  <a:lnTo>
                    <a:pt x="82" y="34"/>
                  </a:lnTo>
                  <a:lnTo>
                    <a:pt x="74" y="42"/>
                  </a:lnTo>
                  <a:lnTo>
                    <a:pt x="66" y="42"/>
                  </a:lnTo>
                  <a:lnTo>
                    <a:pt x="28" y="38"/>
                  </a:lnTo>
                  <a:lnTo>
                    <a:pt x="14" y="48"/>
                  </a:lnTo>
                  <a:lnTo>
                    <a:pt x="16" y="62"/>
                  </a:lnTo>
                  <a:lnTo>
                    <a:pt x="20" y="72"/>
                  </a:lnTo>
                  <a:lnTo>
                    <a:pt x="0" y="88"/>
                  </a:lnTo>
                  <a:lnTo>
                    <a:pt x="6" y="100"/>
                  </a:lnTo>
                  <a:lnTo>
                    <a:pt x="12" y="104"/>
                  </a:lnTo>
                  <a:lnTo>
                    <a:pt x="0" y="118"/>
                  </a:lnTo>
                  <a:lnTo>
                    <a:pt x="0" y="136"/>
                  </a:lnTo>
                  <a:lnTo>
                    <a:pt x="6" y="144"/>
                  </a:lnTo>
                  <a:lnTo>
                    <a:pt x="16" y="144"/>
                  </a:lnTo>
                  <a:lnTo>
                    <a:pt x="22" y="150"/>
                  </a:lnTo>
                  <a:lnTo>
                    <a:pt x="28" y="164"/>
                  </a:lnTo>
                  <a:lnTo>
                    <a:pt x="28" y="178"/>
                  </a:lnTo>
                  <a:lnTo>
                    <a:pt x="38" y="180"/>
                  </a:lnTo>
                  <a:lnTo>
                    <a:pt x="46" y="178"/>
                  </a:lnTo>
                  <a:lnTo>
                    <a:pt x="78" y="148"/>
                  </a:lnTo>
                  <a:lnTo>
                    <a:pt x="90" y="152"/>
                  </a:lnTo>
                  <a:lnTo>
                    <a:pt x="118" y="166"/>
                  </a:lnTo>
                  <a:lnTo>
                    <a:pt x="138" y="180"/>
                  </a:lnTo>
                  <a:lnTo>
                    <a:pt x="140" y="196"/>
                  </a:lnTo>
                  <a:lnTo>
                    <a:pt x="152" y="206"/>
                  </a:lnTo>
                  <a:lnTo>
                    <a:pt x="156" y="226"/>
                  </a:lnTo>
                  <a:lnTo>
                    <a:pt x="162" y="254"/>
                  </a:lnTo>
                  <a:lnTo>
                    <a:pt x="170" y="268"/>
                  </a:lnTo>
                  <a:lnTo>
                    <a:pt x="180" y="280"/>
                  </a:lnTo>
                  <a:lnTo>
                    <a:pt x="200" y="286"/>
                  </a:lnTo>
                  <a:lnTo>
                    <a:pt x="216" y="312"/>
                  </a:lnTo>
                  <a:lnTo>
                    <a:pt x="232" y="334"/>
                  </a:lnTo>
                  <a:lnTo>
                    <a:pt x="250" y="346"/>
                  </a:lnTo>
                  <a:lnTo>
                    <a:pt x="280" y="380"/>
                  </a:lnTo>
                  <a:lnTo>
                    <a:pt x="300" y="380"/>
                  </a:lnTo>
                  <a:lnTo>
                    <a:pt x="326" y="400"/>
                  </a:lnTo>
                  <a:lnTo>
                    <a:pt x="326" y="422"/>
                  </a:lnTo>
                  <a:lnTo>
                    <a:pt x="334" y="428"/>
                  </a:lnTo>
                  <a:lnTo>
                    <a:pt x="350" y="418"/>
                  </a:lnTo>
                  <a:lnTo>
                    <a:pt x="352" y="428"/>
                  </a:lnTo>
                  <a:lnTo>
                    <a:pt x="352" y="442"/>
                  </a:lnTo>
                  <a:lnTo>
                    <a:pt x="370" y="454"/>
                  </a:lnTo>
                  <a:lnTo>
                    <a:pt x="374" y="462"/>
                  </a:lnTo>
                  <a:lnTo>
                    <a:pt x="396" y="458"/>
                  </a:lnTo>
                  <a:lnTo>
                    <a:pt x="400" y="466"/>
                  </a:lnTo>
                  <a:lnTo>
                    <a:pt x="396" y="484"/>
                  </a:lnTo>
                  <a:lnTo>
                    <a:pt x="408" y="500"/>
                  </a:lnTo>
                  <a:lnTo>
                    <a:pt x="410" y="514"/>
                  </a:lnTo>
                  <a:lnTo>
                    <a:pt x="416" y="528"/>
                  </a:lnTo>
                  <a:lnTo>
                    <a:pt x="412" y="538"/>
                  </a:lnTo>
                  <a:lnTo>
                    <a:pt x="402" y="548"/>
                  </a:lnTo>
                  <a:lnTo>
                    <a:pt x="400" y="562"/>
                  </a:lnTo>
                  <a:lnTo>
                    <a:pt x="392" y="578"/>
                  </a:lnTo>
                  <a:lnTo>
                    <a:pt x="394" y="59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1700908" y="2504147"/>
              <a:ext cx="151401" cy="101726"/>
            </a:xfrm>
            <a:custGeom>
              <a:avLst/>
              <a:gdLst>
                <a:gd name="T0" fmla="*/ 114 w 220"/>
                <a:gd name="T1" fmla="*/ 26 h 140"/>
                <a:gd name="T2" fmla="*/ 104 w 220"/>
                <a:gd name="T3" fmla="*/ 16 h 140"/>
                <a:gd name="T4" fmla="*/ 106 w 220"/>
                <a:gd name="T5" fmla="*/ 14 h 140"/>
                <a:gd name="T6" fmla="*/ 98 w 220"/>
                <a:gd name="T7" fmla="*/ 8 h 140"/>
                <a:gd name="T8" fmla="*/ 92 w 220"/>
                <a:gd name="T9" fmla="*/ 0 h 140"/>
                <a:gd name="T10" fmla="*/ 86 w 220"/>
                <a:gd name="T11" fmla="*/ 8 h 140"/>
                <a:gd name="T12" fmla="*/ 80 w 220"/>
                <a:gd name="T13" fmla="*/ 4 h 140"/>
                <a:gd name="T14" fmla="*/ 72 w 220"/>
                <a:gd name="T15" fmla="*/ 12 h 140"/>
                <a:gd name="T16" fmla="*/ 72 w 220"/>
                <a:gd name="T17" fmla="*/ 16 h 140"/>
                <a:gd name="T18" fmla="*/ 64 w 220"/>
                <a:gd name="T19" fmla="*/ 20 h 140"/>
                <a:gd name="T20" fmla="*/ 38 w 220"/>
                <a:gd name="T21" fmla="*/ 38 h 140"/>
                <a:gd name="T22" fmla="*/ 32 w 220"/>
                <a:gd name="T23" fmla="*/ 46 h 140"/>
                <a:gd name="T24" fmla="*/ 32 w 220"/>
                <a:gd name="T25" fmla="*/ 56 h 140"/>
                <a:gd name="T26" fmla="*/ 24 w 220"/>
                <a:gd name="T27" fmla="*/ 58 h 140"/>
                <a:gd name="T28" fmla="*/ 6 w 220"/>
                <a:gd name="T29" fmla="*/ 78 h 140"/>
                <a:gd name="T30" fmla="*/ 6 w 220"/>
                <a:gd name="T31" fmla="*/ 84 h 140"/>
                <a:gd name="T32" fmla="*/ 0 w 220"/>
                <a:gd name="T33" fmla="*/ 92 h 140"/>
                <a:gd name="T34" fmla="*/ 2 w 220"/>
                <a:gd name="T35" fmla="*/ 102 h 140"/>
                <a:gd name="T36" fmla="*/ 10 w 220"/>
                <a:gd name="T37" fmla="*/ 96 h 140"/>
                <a:gd name="T38" fmla="*/ 18 w 220"/>
                <a:gd name="T39" fmla="*/ 88 h 140"/>
                <a:gd name="T40" fmla="*/ 30 w 220"/>
                <a:gd name="T41" fmla="*/ 86 h 140"/>
                <a:gd name="T42" fmla="*/ 38 w 220"/>
                <a:gd name="T43" fmla="*/ 88 h 140"/>
                <a:gd name="T44" fmla="*/ 42 w 220"/>
                <a:gd name="T45" fmla="*/ 102 h 140"/>
                <a:gd name="T46" fmla="*/ 40 w 220"/>
                <a:gd name="T47" fmla="*/ 110 h 140"/>
                <a:gd name="T48" fmla="*/ 46 w 220"/>
                <a:gd name="T49" fmla="*/ 116 h 140"/>
                <a:gd name="T50" fmla="*/ 52 w 220"/>
                <a:gd name="T51" fmla="*/ 122 h 140"/>
                <a:gd name="T52" fmla="*/ 66 w 220"/>
                <a:gd name="T53" fmla="*/ 122 h 140"/>
                <a:gd name="T54" fmla="*/ 98 w 220"/>
                <a:gd name="T55" fmla="*/ 126 h 140"/>
                <a:gd name="T56" fmla="*/ 104 w 220"/>
                <a:gd name="T57" fmla="*/ 122 h 140"/>
                <a:gd name="T58" fmla="*/ 108 w 220"/>
                <a:gd name="T59" fmla="*/ 116 h 140"/>
                <a:gd name="T60" fmla="*/ 112 w 220"/>
                <a:gd name="T61" fmla="*/ 104 h 140"/>
                <a:gd name="T62" fmla="*/ 122 w 220"/>
                <a:gd name="T63" fmla="*/ 104 h 140"/>
                <a:gd name="T64" fmla="*/ 126 w 220"/>
                <a:gd name="T65" fmla="*/ 112 h 140"/>
                <a:gd name="T66" fmla="*/ 126 w 220"/>
                <a:gd name="T67" fmla="*/ 130 h 140"/>
                <a:gd name="T68" fmla="*/ 140 w 220"/>
                <a:gd name="T69" fmla="*/ 140 h 140"/>
                <a:gd name="T70" fmla="*/ 150 w 220"/>
                <a:gd name="T71" fmla="*/ 124 h 140"/>
                <a:gd name="T72" fmla="*/ 162 w 220"/>
                <a:gd name="T73" fmla="*/ 118 h 140"/>
                <a:gd name="T74" fmla="*/ 174 w 220"/>
                <a:gd name="T75" fmla="*/ 120 h 140"/>
                <a:gd name="T76" fmla="*/ 184 w 220"/>
                <a:gd name="T77" fmla="*/ 124 h 140"/>
                <a:gd name="T78" fmla="*/ 188 w 220"/>
                <a:gd name="T79" fmla="*/ 130 h 140"/>
                <a:gd name="T80" fmla="*/ 190 w 220"/>
                <a:gd name="T81" fmla="*/ 116 h 140"/>
                <a:gd name="T82" fmla="*/ 198 w 220"/>
                <a:gd name="T83" fmla="*/ 100 h 140"/>
                <a:gd name="T84" fmla="*/ 214 w 220"/>
                <a:gd name="T85" fmla="*/ 96 h 140"/>
                <a:gd name="T86" fmla="*/ 220 w 220"/>
                <a:gd name="T87" fmla="*/ 86 h 140"/>
                <a:gd name="T88" fmla="*/ 214 w 220"/>
                <a:gd name="T89" fmla="*/ 78 h 140"/>
                <a:gd name="T90" fmla="*/ 206 w 220"/>
                <a:gd name="T91" fmla="*/ 74 h 140"/>
                <a:gd name="T92" fmla="*/ 186 w 220"/>
                <a:gd name="T93" fmla="*/ 70 h 140"/>
                <a:gd name="T94" fmla="*/ 186 w 220"/>
                <a:gd name="T95" fmla="*/ 60 h 140"/>
                <a:gd name="T96" fmla="*/ 186 w 220"/>
                <a:gd name="T97" fmla="*/ 50 h 140"/>
                <a:gd name="T98" fmla="*/ 186 w 220"/>
                <a:gd name="T99" fmla="*/ 42 h 140"/>
                <a:gd name="T100" fmla="*/ 172 w 220"/>
                <a:gd name="T101" fmla="*/ 36 h 140"/>
                <a:gd name="T102" fmla="*/ 166 w 220"/>
                <a:gd name="T103" fmla="*/ 38 h 140"/>
                <a:gd name="T104" fmla="*/ 154 w 220"/>
                <a:gd name="T105" fmla="*/ 30 h 140"/>
                <a:gd name="T106" fmla="*/ 154 w 220"/>
                <a:gd name="T107" fmla="*/ 24 h 140"/>
                <a:gd name="T108" fmla="*/ 148 w 220"/>
                <a:gd name="T109" fmla="*/ 18 h 140"/>
                <a:gd name="T110" fmla="*/ 148 w 220"/>
                <a:gd name="T111" fmla="*/ 16 h 140"/>
                <a:gd name="T112" fmla="*/ 138 w 220"/>
                <a:gd name="T113" fmla="*/ 12 h 140"/>
                <a:gd name="T114" fmla="*/ 132 w 220"/>
                <a:gd name="T115" fmla="*/ 16 h 140"/>
                <a:gd name="T116" fmla="*/ 124 w 220"/>
                <a:gd name="T117" fmla="*/ 22 h 140"/>
                <a:gd name="T118" fmla="*/ 114 w 220"/>
                <a:gd name="T119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0" h="140">
                  <a:moveTo>
                    <a:pt x="114" y="26"/>
                  </a:moveTo>
                  <a:lnTo>
                    <a:pt x="104" y="16"/>
                  </a:lnTo>
                  <a:lnTo>
                    <a:pt x="106" y="14"/>
                  </a:lnTo>
                  <a:lnTo>
                    <a:pt x="98" y="8"/>
                  </a:lnTo>
                  <a:lnTo>
                    <a:pt x="92" y="0"/>
                  </a:lnTo>
                  <a:lnTo>
                    <a:pt x="86" y="8"/>
                  </a:lnTo>
                  <a:lnTo>
                    <a:pt x="80" y="4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64" y="20"/>
                  </a:lnTo>
                  <a:lnTo>
                    <a:pt x="38" y="38"/>
                  </a:lnTo>
                  <a:lnTo>
                    <a:pt x="32" y="46"/>
                  </a:lnTo>
                  <a:lnTo>
                    <a:pt x="32" y="56"/>
                  </a:lnTo>
                  <a:lnTo>
                    <a:pt x="24" y="5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0" y="92"/>
                  </a:lnTo>
                  <a:lnTo>
                    <a:pt x="2" y="102"/>
                  </a:lnTo>
                  <a:lnTo>
                    <a:pt x="10" y="96"/>
                  </a:lnTo>
                  <a:lnTo>
                    <a:pt x="18" y="88"/>
                  </a:lnTo>
                  <a:lnTo>
                    <a:pt x="30" y="86"/>
                  </a:lnTo>
                  <a:lnTo>
                    <a:pt x="38" y="88"/>
                  </a:lnTo>
                  <a:lnTo>
                    <a:pt x="42" y="102"/>
                  </a:lnTo>
                  <a:lnTo>
                    <a:pt x="40" y="110"/>
                  </a:lnTo>
                  <a:lnTo>
                    <a:pt x="46" y="116"/>
                  </a:lnTo>
                  <a:lnTo>
                    <a:pt x="52" y="122"/>
                  </a:lnTo>
                  <a:lnTo>
                    <a:pt x="66" y="122"/>
                  </a:lnTo>
                  <a:lnTo>
                    <a:pt x="98" y="126"/>
                  </a:lnTo>
                  <a:lnTo>
                    <a:pt x="104" y="122"/>
                  </a:lnTo>
                  <a:lnTo>
                    <a:pt x="108" y="116"/>
                  </a:lnTo>
                  <a:lnTo>
                    <a:pt x="112" y="104"/>
                  </a:lnTo>
                  <a:lnTo>
                    <a:pt x="122" y="104"/>
                  </a:lnTo>
                  <a:lnTo>
                    <a:pt x="126" y="112"/>
                  </a:lnTo>
                  <a:lnTo>
                    <a:pt x="126" y="130"/>
                  </a:lnTo>
                  <a:lnTo>
                    <a:pt x="140" y="140"/>
                  </a:lnTo>
                  <a:lnTo>
                    <a:pt x="150" y="124"/>
                  </a:lnTo>
                  <a:lnTo>
                    <a:pt x="162" y="118"/>
                  </a:lnTo>
                  <a:lnTo>
                    <a:pt x="174" y="120"/>
                  </a:lnTo>
                  <a:lnTo>
                    <a:pt x="184" y="124"/>
                  </a:lnTo>
                  <a:lnTo>
                    <a:pt x="188" y="130"/>
                  </a:lnTo>
                  <a:lnTo>
                    <a:pt x="190" y="116"/>
                  </a:lnTo>
                  <a:lnTo>
                    <a:pt x="198" y="100"/>
                  </a:lnTo>
                  <a:lnTo>
                    <a:pt x="214" y="96"/>
                  </a:lnTo>
                  <a:lnTo>
                    <a:pt x="220" y="86"/>
                  </a:lnTo>
                  <a:lnTo>
                    <a:pt x="214" y="78"/>
                  </a:lnTo>
                  <a:lnTo>
                    <a:pt x="206" y="74"/>
                  </a:lnTo>
                  <a:lnTo>
                    <a:pt x="186" y="70"/>
                  </a:lnTo>
                  <a:lnTo>
                    <a:pt x="186" y="60"/>
                  </a:lnTo>
                  <a:lnTo>
                    <a:pt x="186" y="50"/>
                  </a:lnTo>
                  <a:lnTo>
                    <a:pt x="186" y="42"/>
                  </a:lnTo>
                  <a:lnTo>
                    <a:pt x="172" y="36"/>
                  </a:lnTo>
                  <a:lnTo>
                    <a:pt x="166" y="38"/>
                  </a:lnTo>
                  <a:lnTo>
                    <a:pt x="154" y="30"/>
                  </a:lnTo>
                  <a:lnTo>
                    <a:pt x="154" y="24"/>
                  </a:lnTo>
                  <a:lnTo>
                    <a:pt x="148" y="18"/>
                  </a:lnTo>
                  <a:lnTo>
                    <a:pt x="148" y="16"/>
                  </a:lnTo>
                  <a:lnTo>
                    <a:pt x="138" y="12"/>
                  </a:lnTo>
                  <a:lnTo>
                    <a:pt x="132" y="16"/>
                  </a:lnTo>
                  <a:lnTo>
                    <a:pt x="124" y="22"/>
                  </a:lnTo>
                  <a:lnTo>
                    <a:pt x="114" y="2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30" name="Freeform 24"/>
            <p:cNvSpPr>
              <a:spLocks/>
            </p:cNvSpPr>
            <p:nvPr/>
          </p:nvSpPr>
          <p:spPr bwMode="auto">
            <a:xfrm>
              <a:off x="1700908" y="2504147"/>
              <a:ext cx="151401" cy="101726"/>
            </a:xfrm>
            <a:custGeom>
              <a:avLst/>
              <a:gdLst>
                <a:gd name="T0" fmla="*/ 114 w 220"/>
                <a:gd name="T1" fmla="*/ 26 h 140"/>
                <a:gd name="T2" fmla="*/ 104 w 220"/>
                <a:gd name="T3" fmla="*/ 16 h 140"/>
                <a:gd name="T4" fmla="*/ 106 w 220"/>
                <a:gd name="T5" fmla="*/ 14 h 140"/>
                <a:gd name="T6" fmla="*/ 98 w 220"/>
                <a:gd name="T7" fmla="*/ 8 h 140"/>
                <a:gd name="T8" fmla="*/ 92 w 220"/>
                <a:gd name="T9" fmla="*/ 0 h 140"/>
                <a:gd name="T10" fmla="*/ 86 w 220"/>
                <a:gd name="T11" fmla="*/ 8 h 140"/>
                <a:gd name="T12" fmla="*/ 80 w 220"/>
                <a:gd name="T13" fmla="*/ 4 h 140"/>
                <a:gd name="T14" fmla="*/ 72 w 220"/>
                <a:gd name="T15" fmla="*/ 12 h 140"/>
                <a:gd name="T16" fmla="*/ 72 w 220"/>
                <a:gd name="T17" fmla="*/ 16 h 140"/>
                <a:gd name="T18" fmla="*/ 64 w 220"/>
                <a:gd name="T19" fmla="*/ 20 h 140"/>
                <a:gd name="T20" fmla="*/ 38 w 220"/>
                <a:gd name="T21" fmla="*/ 38 h 140"/>
                <a:gd name="T22" fmla="*/ 32 w 220"/>
                <a:gd name="T23" fmla="*/ 46 h 140"/>
                <a:gd name="T24" fmla="*/ 32 w 220"/>
                <a:gd name="T25" fmla="*/ 56 h 140"/>
                <a:gd name="T26" fmla="*/ 24 w 220"/>
                <a:gd name="T27" fmla="*/ 58 h 140"/>
                <a:gd name="T28" fmla="*/ 6 w 220"/>
                <a:gd name="T29" fmla="*/ 78 h 140"/>
                <a:gd name="T30" fmla="*/ 6 w 220"/>
                <a:gd name="T31" fmla="*/ 84 h 140"/>
                <a:gd name="T32" fmla="*/ 0 w 220"/>
                <a:gd name="T33" fmla="*/ 92 h 140"/>
                <a:gd name="T34" fmla="*/ 2 w 220"/>
                <a:gd name="T35" fmla="*/ 102 h 140"/>
                <a:gd name="T36" fmla="*/ 10 w 220"/>
                <a:gd name="T37" fmla="*/ 96 h 140"/>
                <a:gd name="T38" fmla="*/ 18 w 220"/>
                <a:gd name="T39" fmla="*/ 88 h 140"/>
                <a:gd name="T40" fmla="*/ 30 w 220"/>
                <a:gd name="T41" fmla="*/ 86 h 140"/>
                <a:gd name="T42" fmla="*/ 38 w 220"/>
                <a:gd name="T43" fmla="*/ 88 h 140"/>
                <a:gd name="T44" fmla="*/ 42 w 220"/>
                <a:gd name="T45" fmla="*/ 102 h 140"/>
                <a:gd name="T46" fmla="*/ 40 w 220"/>
                <a:gd name="T47" fmla="*/ 110 h 140"/>
                <a:gd name="T48" fmla="*/ 46 w 220"/>
                <a:gd name="T49" fmla="*/ 116 h 140"/>
                <a:gd name="T50" fmla="*/ 52 w 220"/>
                <a:gd name="T51" fmla="*/ 122 h 140"/>
                <a:gd name="T52" fmla="*/ 66 w 220"/>
                <a:gd name="T53" fmla="*/ 122 h 140"/>
                <a:gd name="T54" fmla="*/ 98 w 220"/>
                <a:gd name="T55" fmla="*/ 126 h 140"/>
                <a:gd name="T56" fmla="*/ 104 w 220"/>
                <a:gd name="T57" fmla="*/ 122 h 140"/>
                <a:gd name="T58" fmla="*/ 108 w 220"/>
                <a:gd name="T59" fmla="*/ 116 h 140"/>
                <a:gd name="T60" fmla="*/ 112 w 220"/>
                <a:gd name="T61" fmla="*/ 104 h 140"/>
                <a:gd name="T62" fmla="*/ 122 w 220"/>
                <a:gd name="T63" fmla="*/ 104 h 140"/>
                <a:gd name="T64" fmla="*/ 126 w 220"/>
                <a:gd name="T65" fmla="*/ 112 h 140"/>
                <a:gd name="T66" fmla="*/ 126 w 220"/>
                <a:gd name="T67" fmla="*/ 130 h 140"/>
                <a:gd name="T68" fmla="*/ 140 w 220"/>
                <a:gd name="T69" fmla="*/ 140 h 140"/>
                <a:gd name="T70" fmla="*/ 150 w 220"/>
                <a:gd name="T71" fmla="*/ 124 h 140"/>
                <a:gd name="T72" fmla="*/ 162 w 220"/>
                <a:gd name="T73" fmla="*/ 118 h 140"/>
                <a:gd name="T74" fmla="*/ 174 w 220"/>
                <a:gd name="T75" fmla="*/ 120 h 140"/>
                <a:gd name="T76" fmla="*/ 184 w 220"/>
                <a:gd name="T77" fmla="*/ 124 h 140"/>
                <a:gd name="T78" fmla="*/ 188 w 220"/>
                <a:gd name="T79" fmla="*/ 130 h 140"/>
                <a:gd name="T80" fmla="*/ 190 w 220"/>
                <a:gd name="T81" fmla="*/ 116 h 140"/>
                <a:gd name="T82" fmla="*/ 198 w 220"/>
                <a:gd name="T83" fmla="*/ 100 h 140"/>
                <a:gd name="T84" fmla="*/ 214 w 220"/>
                <a:gd name="T85" fmla="*/ 96 h 140"/>
                <a:gd name="T86" fmla="*/ 220 w 220"/>
                <a:gd name="T87" fmla="*/ 86 h 140"/>
                <a:gd name="T88" fmla="*/ 214 w 220"/>
                <a:gd name="T89" fmla="*/ 78 h 140"/>
                <a:gd name="T90" fmla="*/ 206 w 220"/>
                <a:gd name="T91" fmla="*/ 74 h 140"/>
                <a:gd name="T92" fmla="*/ 186 w 220"/>
                <a:gd name="T93" fmla="*/ 70 h 140"/>
                <a:gd name="T94" fmla="*/ 186 w 220"/>
                <a:gd name="T95" fmla="*/ 60 h 140"/>
                <a:gd name="T96" fmla="*/ 186 w 220"/>
                <a:gd name="T97" fmla="*/ 50 h 140"/>
                <a:gd name="T98" fmla="*/ 186 w 220"/>
                <a:gd name="T99" fmla="*/ 42 h 140"/>
                <a:gd name="T100" fmla="*/ 172 w 220"/>
                <a:gd name="T101" fmla="*/ 36 h 140"/>
                <a:gd name="T102" fmla="*/ 166 w 220"/>
                <a:gd name="T103" fmla="*/ 38 h 140"/>
                <a:gd name="T104" fmla="*/ 154 w 220"/>
                <a:gd name="T105" fmla="*/ 30 h 140"/>
                <a:gd name="T106" fmla="*/ 154 w 220"/>
                <a:gd name="T107" fmla="*/ 24 h 140"/>
                <a:gd name="T108" fmla="*/ 148 w 220"/>
                <a:gd name="T109" fmla="*/ 18 h 140"/>
                <a:gd name="T110" fmla="*/ 148 w 220"/>
                <a:gd name="T111" fmla="*/ 16 h 140"/>
                <a:gd name="T112" fmla="*/ 138 w 220"/>
                <a:gd name="T113" fmla="*/ 12 h 140"/>
                <a:gd name="T114" fmla="*/ 132 w 220"/>
                <a:gd name="T115" fmla="*/ 16 h 140"/>
                <a:gd name="T116" fmla="*/ 124 w 220"/>
                <a:gd name="T117" fmla="*/ 22 h 140"/>
                <a:gd name="T118" fmla="*/ 114 w 220"/>
                <a:gd name="T119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0" h="140">
                  <a:moveTo>
                    <a:pt x="114" y="26"/>
                  </a:moveTo>
                  <a:lnTo>
                    <a:pt x="104" y="16"/>
                  </a:lnTo>
                  <a:lnTo>
                    <a:pt x="106" y="14"/>
                  </a:lnTo>
                  <a:lnTo>
                    <a:pt x="98" y="8"/>
                  </a:lnTo>
                  <a:lnTo>
                    <a:pt x="92" y="0"/>
                  </a:lnTo>
                  <a:lnTo>
                    <a:pt x="86" y="8"/>
                  </a:lnTo>
                  <a:lnTo>
                    <a:pt x="80" y="4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64" y="20"/>
                  </a:lnTo>
                  <a:lnTo>
                    <a:pt x="38" y="38"/>
                  </a:lnTo>
                  <a:lnTo>
                    <a:pt x="32" y="46"/>
                  </a:lnTo>
                  <a:lnTo>
                    <a:pt x="32" y="56"/>
                  </a:lnTo>
                  <a:lnTo>
                    <a:pt x="24" y="5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0" y="92"/>
                  </a:lnTo>
                  <a:lnTo>
                    <a:pt x="2" y="102"/>
                  </a:lnTo>
                  <a:lnTo>
                    <a:pt x="10" y="96"/>
                  </a:lnTo>
                  <a:lnTo>
                    <a:pt x="18" y="88"/>
                  </a:lnTo>
                  <a:lnTo>
                    <a:pt x="30" y="86"/>
                  </a:lnTo>
                  <a:lnTo>
                    <a:pt x="38" y="88"/>
                  </a:lnTo>
                  <a:lnTo>
                    <a:pt x="42" y="102"/>
                  </a:lnTo>
                  <a:lnTo>
                    <a:pt x="40" y="110"/>
                  </a:lnTo>
                  <a:lnTo>
                    <a:pt x="46" y="116"/>
                  </a:lnTo>
                  <a:lnTo>
                    <a:pt x="52" y="122"/>
                  </a:lnTo>
                  <a:lnTo>
                    <a:pt x="66" y="122"/>
                  </a:lnTo>
                  <a:lnTo>
                    <a:pt x="98" y="126"/>
                  </a:lnTo>
                  <a:lnTo>
                    <a:pt x="104" y="122"/>
                  </a:lnTo>
                  <a:lnTo>
                    <a:pt x="108" y="116"/>
                  </a:lnTo>
                  <a:lnTo>
                    <a:pt x="112" y="104"/>
                  </a:lnTo>
                  <a:lnTo>
                    <a:pt x="122" y="104"/>
                  </a:lnTo>
                  <a:lnTo>
                    <a:pt x="126" y="112"/>
                  </a:lnTo>
                  <a:lnTo>
                    <a:pt x="126" y="130"/>
                  </a:lnTo>
                  <a:lnTo>
                    <a:pt x="140" y="140"/>
                  </a:lnTo>
                  <a:lnTo>
                    <a:pt x="150" y="124"/>
                  </a:lnTo>
                  <a:lnTo>
                    <a:pt x="162" y="118"/>
                  </a:lnTo>
                  <a:lnTo>
                    <a:pt x="174" y="120"/>
                  </a:lnTo>
                  <a:lnTo>
                    <a:pt x="184" y="124"/>
                  </a:lnTo>
                  <a:lnTo>
                    <a:pt x="188" y="130"/>
                  </a:lnTo>
                  <a:lnTo>
                    <a:pt x="190" y="116"/>
                  </a:lnTo>
                  <a:lnTo>
                    <a:pt x="198" y="100"/>
                  </a:lnTo>
                  <a:lnTo>
                    <a:pt x="214" y="96"/>
                  </a:lnTo>
                  <a:lnTo>
                    <a:pt x="220" y="86"/>
                  </a:lnTo>
                  <a:lnTo>
                    <a:pt x="214" y="78"/>
                  </a:lnTo>
                  <a:lnTo>
                    <a:pt x="206" y="74"/>
                  </a:lnTo>
                  <a:lnTo>
                    <a:pt x="186" y="70"/>
                  </a:lnTo>
                  <a:lnTo>
                    <a:pt x="186" y="60"/>
                  </a:lnTo>
                  <a:lnTo>
                    <a:pt x="186" y="50"/>
                  </a:lnTo>
                  <a:lnTo>
                    <a:pt x="186" y="42"/>
                  </a:lnTo>
                  <a:lnTo>
                    <a:pt x="172" y="36"/>
                  </a:lnTo>
                  <a:lnTo>
                    <a:pt x="166" y="38"/>
                  </a:lnTo>
                  <a:lnTo>
                    <a:pt x="154" y="30"/>
                  </a:lnTo>
                  <a:lnTo>
                    <a:pt x="154" y="24"/>
                  </a:lnTo>
                  <a:lnTo>
                    <a:pt x="148" y="18"/>
                  </a:lnTo>
                  <a:lnTo>
                    <a:pt x="148" y="16"/>
                  </a:lnTo>
                  <a:lnTo>
                    <a:pt x="138" y="12"/>
                  </a:lnTo>
                  <a:lnTo>
                    <a:pt x="132" y="16"/>
                  </a:lnTo>
                  <a:lnTo>
                    <a:pt x="124" y="22"/>
                  </a:lnTo>
                  <a:lnTo>
                    <a:pt x="114" y="26"/>
                  </a:lnTo>
                  <a:close/>
                </a:path>
              </a:pathLst>
            </a:custGeom>
            <a:solidFill>
              <a:schemeClr val="lt1"/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1822028" y="2492521"/>
              <a:ext cx="229854" cy="107539"/>
            </a:xfrm>
            <a:custGeom>
              <a:avLst/>
              <a:gdLst>
                <a:gd name="T0" fmla="*/ 14 w 334"/>
                <a:gd name="T1" fmla="*/ 52 h 148"/>
                <a:gd name="T2" fmla="*/ 26 w 334"/>
                <a:gd name="T3" fmla="*/ 58 h 148"/>
                <a:gd name="T4" fmla="*/ 46 w 334"/>
                <a:gd name="T5" fmla="*/ 58 h 148"/>
                <a:gd name="T6" fmla="*/ 64 w 334"/>
                <a:gd name="T7" fmla="*/ 56 h 148"/>
                <a:gd name="T8" fmla="*/ 88 w 334"/>
                <a:gd name="T9" fmla="*/ 62 h 148"/>
                <a:gd name="T10" fmla="*/ 102 w 334"/>
                <a:gd name="T11" fmla="*/ 60 h 148"/>
                <a:gd name="T12" fmla="*/ 126 w 334"/>
                <a:gd name="T13" fmla="*/ 58 h 148"/>
                <a:gd name="T14" fmla="*/ 154 w 334"/>
                <a:gd name="T15" fmla="*/ 72 h 148"/>
                <a:gd name="T16" fmla="*/ 168 w 334"/>
                <a:gd name="T17" fmla="*/ 58 h 148"/>
                <a:gd name="T18" fmla="*/ 156 w 334"/>
                <a:gd name="T19" fmla="*/ 28 h 148"/>
                <a:gd name="T20" fmla="*/ 202 w 334"/>
                <a:gd name="T21" fmla="*/ 2 h 148"/>
                <a:gd name="T22" fmla="*/ 214 w 334"/>
                <a:gd name="T23" fmla="*/ 14 h 148"/>
                <a:gd name="T24" fmla="*/ 248 w 334"/>
                <a:gd name="T25" fmla="*/ 0 h 148"/>
                <a:gd name="T26" fmla="*/ 284 w 334"/>
                <a:gd name="T27" fmla="*/ 12 h 148"/>
                <a:gd name="T28" fmla="*/ 308 w 334"/>
                <a:gd name="T29" fmla="*/ 6 h 148"/>
                <a:gd name="T30" fmla="*/ 326 w 334"/>
                <a:gd name="T31" fmla="*/ 36 h 148"/>
                <a:gd name="T32" fmla="*/ 332 w 334"/>
                <a:gd name="T33" fmla="*/ 58 h 148"/>
                <a:gd name="T34" fmla="*/ 316 w 334"/>
                <a:gd name="T35" fmla="*/ 72 h 148"/>
                <a:gd name="T36" fmla="*/ 318 w 334"/>
                <a:gd name="T37" fmla="*/ 86 h 148"/>
                <a:gd name="T38" fmla="*/ 312 w 334"/>
                <a:gd name="T39" fmla="*/ 106 h 148"/>
                <a:gd name="T40" fmla="*/ 296 w 334"/>
                <a:gd name="T41" fmla="*/ 124 h 148"/>
                <a:gd name="T42" fmla="*/ 280 w 334"/>
                <a:gd name="T43" fmla="*/ 136 h 148"/>
                <a:gd name="T44" fmla="*/ 244 w 334"/>
                <a:gd name="T45" fmla="*/ 138 h 148"/>
                <a:gd name="T46" fmla="*/ 214 w 334"/>
                <a:gd name="T47" fmla="*/ 148 h 148"/>
                <a:gd name="T48" fmla="*/ 162 w 334"/>
                <a:gd name="T49" fmla="*/ 138 h 148"/>
                <a:gd name="T50" fmla="*/ 114 w 334"/>
                <a:gd name="T51" fmla="*/ 118 h 148"/>
                <a:gd name="T52" fmla="*/ 110 w 334"/>
                <a:gd name="T53" fmla="*/ 102 h 148"/>
                <a:gd name="T54" fmla="*/ 78 w 334"/>
                <a:gd name="T55" fmla="*/ 100 h 148"/>
                <a:gd name="T56" fmla="*/ 38 w 334"/>
                <a:gd name="T57" fmla="*/ 94 h 148"/>
                <a:gd name="T58" fmla="*/ 20 w 334"/>
                <a:gd name="T59" fmla="*/ 88 h 148"/>
                <a:gd name="T60" fmla="*/ 10 w 334"/>
                <a:gd name="T61" fmla="*/ 76 h 148"/>
                <a:gd name="T62" fmla="*/ 0 w 334"/>
                <a:gd name="T63" fmla="*/ 5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4" h="148">
                  <a:moveTo>
                    <a:pt x="0" y="52"/>
                  </a:moveTo>
                  <a:lnTo>
                    <a:pt x="14" y="52"/>
                  </a:lnTo>
                  <a:lnTo>
                    <a:pt x="20" y="50"/>
                  </a:lnTo>
                  <a:lnTo>
                    <a:pt x="26" y="58"/>
                  </a:lnTo>
                  <a:lnTo>
                    <a:pt x="36" y="56"/>
                  </a:lnTo>
                  <a:lnTo>
                    <a:pt x="46" y="58"/>
                  </a:lnTo>
                  <a:lnTo>
                    <a:pt x="54" y="62"/>
                  </a:lnTo>
                  <a:lnTo>
                    <a:pt x="64" y="56"/>
                  </a:lnTo>
                  <a:lnTo>
                    <a:pt x="80" y="56"/>
                  </a:lnTo>
                  <a:lnTo>
                    <a:pt x="88" y="62"/>
                  </a:lnTo>
                  <a:lnTo>
                    <a:pt x="96" y="66"/>
                  </a:lnTo>
                  <a:lnTo>
                    <a:pt x="102" y="60"/>
                  </a:lnTo>
                  <a:lnTo>
                    <a:pt x="118" y="58"/>
                  </a:lnTo>
                  <a:lnTo>
                    <a:pt x="126" y="58"/>
                  </a:lnTo>
                  <a:lnTo>
                    <a:pt x="140" y="62"/>
                  </a:lnTo>
                  <a:lnTo>
                    <a:pt x="154" y="72"/>
                  </a:lnTo>
                  <a:lnTo>
                    <a:pt x="166" y="68"/>
                  </a:lnTo>
                  <a:lnTo>
                    <a:pt x="168" y="58"/>
                  </a:lnTo>
                  <a:lnTo>
                    <a:pt x="160" y="46"/>
                  </a:lnTo>
                  <a:lnTo>
                    <a:pt x="156" y="28"/>
                  </a:lnTo>
                  <a:lnTo>
                    <a:pt x="194" y="2"/>
                  </a:lnTo>
                  <a:lnTo>
                    <a:pt x="202" y="2"/>
                  </a:lnTo>
                  <a:lnTo>
                    <a:pt x="204" y="12"/>
                  </a:lnTo>
                  <a:lnTo>
                    <a:pt x="214" y="14"/>
                  </a:lnTo>
                  <a:lnTo>
                    <a:pt x="238" y="10"/>
                  </a:lnTo>
                  <a:lnTo>
                    <a:pt x="248" y="0"/>
                  </a:lnTo>
                  <a:lnTo>
                    <a:pt x="278" y="0"/>
                  </a:lnTo>
                  <a:lnTo>
                    <a:pt x="284" y="12"/>
                  </a:lnTo>
                  <a:lnTo>
                    <a:pt x="296" y="12"/>
                  </a:lnTo>
                  <a:lnTo>
                    <a:pt x="308" y="6"/>
                  </a:lnTo>
                  <a:lnTo>
                    <a:pt x="326" y="16"/>
                  </a:lnTo>
                  <a:lnTo>
                    <a:pt x="326" y="36"/>
                  </a:lnTo>
                  <a:lnTo>
                    <a:pt x="334" y="46"/>
                  </a:lnTo>
                  <a:lnTo>
                    <a:pt x="332" y="58"/>
                  </a:lnTo>
                  <a:lnTo>
                    <a:pt x="326" y="72"/>
                  </a:lnTo>
                  <a:lnTo>
                    <a:pt x="316" y="72"/>
                  </a:lnTo>
                  <a:lnTo>
                    <a:pt x="312" y="76"/>
                  </a:lnTo>
                  <a:lnTo>
                    <a:pt x="318" y="86"/>
                  </a:lnTo>
                  <a:lnTo>
                    <a:pt x="318" y="96"/>
                  </a:lnTo>
                  <a:lnTo>
                    <a:pt x="312" y="106"/>
                  </a:lnTo>
                  <a:lnTo>
                    <a:pt x="296" y="114"/>
                  </a:lnTo>
                  <a:lnTo>
                    <a:pt x="296" y="124"/>
                  </a:lnTo>
                  <a:lnTo>
                    <a:pt x="296" y="134"/>
                  </a:lnTo>
                  <a:lnTo>
                    <a:pt x="280" y="136"/>
                  </a:lnTo>
                  <a:lnTo>
                    <a:pt x="256" y="134"/>
                  </a:lnTo>
                  <a:lnTo>
                    <a:pt x="244" y="138"/>
                  </a:lnTo>
                  <a:lnTo>
                    <a:pt x="222" y="138"/>
                  </a:lnTo>
                  <a:lnTo>
                    <a:pt x="214" y="148"/>
                  </a:lnTo>
                  <a:lnTo>
                    <a:pt x="180" y="138"/>
                  </a:lnTo>
                  <a:lnTo>
                    <a:pt x="162" y="138"/>
                  </a:lnTo>
                  <a:lnTo>
                    <a:pt x="120" y="128"/>
                  </a:lnTo>
                  <a:lnTo>
                    <a:pt x="114" y="118"/>
                  </a:lnTo>
                  <a:lnTo>
                    <a:pt x="114" y="108"/>
                  </a:lnTo>
                  <a:lnTo>
                    <a:pt x="110" y="102"/>
                  </a:lnTo>
                  <a:lnTo>
                    <a:pt x="106" y="98"/>
                  </a:lnTo>
                  <a:lnTo>
                    <a:pt x="78" y="100"/>
                  </a:lnTo>
                  <a:lnTo>
                    <a:pt x="42" y="104"/>
                  </a:lnTo>
                  <a:lnTo>
                    <a:pt x="38" y="94"/>
                  </a:lnTo>
                  <a:lnTo>
                    <a:pt x="32" y="92"/>
                  </a:lnTo>
                  <a:lnTo>
                    <a:pt x="20" y="88"/>
                  </a:lnTo>
                  <a:lnTo>
                    <a:pt x="10" y="86"/>
                  </a:lnTo>
                  <a:lnTo>
                    <a:pt x="10" y="76"/>
                  </a:lnTo>
                  <a:lnTo>
                    <a:pt x="10" y="6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32" name="Freeform 26"/>
            <p:cNvSpPr>
              <a:spLocks/>
            </p:cNvSpPr>
            <p:nvPr/>
          </p:nvSpPr>
          <p:spPr bwMode="auto">
            <a:xfrm>
              <a:off x="1822028" y="2492521"/>
              <a:ext cx="229854" cy="107539"/>
            </a:xfrm>
            <a:custGeom>
              <a:avLst/>
              <a:gdLst>
                <a:gd name="T0" fmla="*/ 14 w 334"/>
                <a:gd name="T1" fmla="*/ 52 h 148"/>
                <a:gd name="T2" fmla="*/ 26 w 334"/>
                <a:gd name="T3" fmla="*/ 58 h 148"/>
                <a:gd name="T4" fmla="*/ 46 w 334"/>
                <a:gd name="T5" fmla="*/ 58 h 148"/>
                <a:gd name="T6" fmla="*/ 64 w 334"/>
                <a:gd name="T7" fmla="*/ 56 h 148"/>
                <a:gd name="T8" fmla="*/ 88 w 334"/>
                <a:gd name="T9" fmla="*/ 62 h 148"/>
                <a:gd name="T10" fmla="*/ 102 w 334"/>
                <a:gd name="T11" fmla="*/ 60 h 148"/>
                <a:gd name="T12" fmla="*/ 126 w 334"/>
                <a:gd name="T13" fmla="*/ 58 h 148"/>
                <a:gd name="T14" fmla="*/ 154 w 334"/>
                <a:gd name="T15" fmla="*/ 72 h 148"/>
                <a:gd name="T16" fmla="*/ 168 w 334"/>
                <a:gd name="T17" fmla="*/ 58 h 148"/>
                <a:gd name="T18" fmla="*/ 156 w 334"/>
                <a:gd name="T19" fmla="*/ 28 h 148"/>
                <a:gd name="T20" fmla="*/ 202 w 334"/>
                <a:gd name="T21" fmla="*/ 2 h 148"/>
                <a:gd name="T22" fmla="*/ 214 w 334"/>
                <a:gd name="T23" fmla="*/ 14 h 148"/>
                <a:gd name="T24" fmla="*/ 248 w 334"/>
                <a:gd name="T25" fmla="*/ 0 h 148"/>
                <a:gd name="T26" fmla="*/ 284 w 334"/>
                <a:gd name="T27" fmla="*/ 12 h 148"/>
                <a:gd name="T28" fmla="*/ 308 w 334"/>
                <a:gd name="T29" fmla="*/ 6 h 148"/>
                <a:gd name="T30" fmla="*/ 326 w 334"/>
                <a:gd name="T31" fmla="*/ 36 h 148"/>
                <a:gd name="T32" fmla="*/ 332 w 334"/>
                <a:gd name="T33" fmla="*/ 58 h 148"/>
                <a:gd name="T34" fmla="*/ 316 w 334"/>
                <a:gd name="T35" fmla="*/ 72 h 148"/>
                <a:gd name="T36" fmla="*/ 318 w 334"/>
                <a:gd name="T37" fmla="*/ 86 h 148"/>
                <a:gd name="T38" fmla="*/ 312 w 334"/>
                <a:gd name="T39" fmla="*/ 106 h 148"/>
                <a:gd name="T40" fmla="*/ 296 w 334"/>
                <a:gd name="T41" fmla="*/ 124 h 148"/>
                <a:gd name="T42" fmla="*/ 280 w 334"/>
                <a:gd name="T43" fmla="*/ 136 h 148"/>
                <a:gd name="T44" fmla="*/ 244 w 334"/>
                <a:gd name="T45" fmla="*/ 138 h 148"/>
                <a:gd name="T46" fmla="*/ 214 w 334"/>
                <a:gd name="T47" fmla="*/ 148 h 148"/>
                <a:gd name="T48" fmla="*/ 162 w 334"/>
                <a:gd name="T49" fmla="*/ 138 h 148"/>
                <a:gd name="T50" fmla="*/ 114 w 334"/>
                <a:gd name="T51" fmla="*/ 118 h 148"/>
                <a:gd name="T52" fmla="*/ 110 w 334"/>
                <a:gd name="T53" fmla="*/ 102 h 148"/>
                <a:gd name="T54" fmla="*/ 78 w 334"/>
                <a:gd name="T55" fmla="*/ 100 h 148"/>
                <a:gd name="T56" fmla="*/ 38 w 334"/>
                <a:gd name="T57" fmla="*/ 94 h 148"/>
                <a:gd name="T58" fmla="*/ 20 w 334"/>
                <a:gd name="T59" fmla="*/ 88 h 148"/>
                <a:gd name="T60" fmla="*/ 10 w 334"/>
                <a:gd name="T61" fmla="*/ 76 h 148"/>
                <a:gd name="T62" fmla="*/ 0 w 334"/>
                <a:gd name="T63" fmla="*/ 5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4" h="148">
                  <a:moveTo>
                    <a:pt x="0" y="52"/>
                  </a:moveTo>
                  <a:lnTo>
                    <a:pt x="14" y="52"/>
                  </a:lnTo>
                  <a:lnTo>
                    <a:pt x="20" y="50"/>
                  </a:lnTo>
                  <a:lnTo>
                    <a:pt x="26" y="58"/>
                  </a:lnTo>
                  <a:lnTo>
                    <a:pt x="36" y="56"/>
                  </a:lnTo>
                  <a:lnTo>
                    <a:pt x="46" y="58"/>
                  </a:lnTo>
                  <a:lnTo>
                    <a:pt x="54" y="62"/>
                  </a:lnTo>
                  <a:lnTo>
                    <a:pt x="64" y="56"/>
                  </a:lnTo>
                  <a:lnTo>
                    <a:pt x="80" y="56"/>
                  </a:lnTo>
                  <a:lnTo>
                    <a:pt x="88" y="62"/>
                  </a:lnTo>
                  <a:lnTo>
                    <a:pt x="96" y="66"/>
                  </a:lnTo>
                  <a:lnTo>
                    <a:pt x="102" y="60"/>
                  </a:lnTo>
                  <a:lnTo>
                    <a:pt x="118" y="58"/>
                  </a:lnTo>
                  <a:lnTo>
                    <a:pt x="126" y="58"/>
                  </a:lnTo>
                  <a:lnTo>
                    <a:pt x="140" y="62"/>
                  </a:lnTo>
                  <a:lnTo>
                    <a:pt x="154" y="72"/>
                  </a:lnTo>
                  <a:lnTo>
                    <a:pt x="166" y="68"/>
                  </a:lnTo>
                  <a:lnTo>
                    <a:pt x="168" y="58"/>
                  </a:lnTo>
                  <a:lnTo>
                    <a:pt x="160" y="46"/>
                  </a:lnTo>
                  <a:lnTo>
                    <a:pt x="156" y="28"/>
                  </a:lnTo>
                  <a:lnTo>
                    <a:pt x="194" y="2"/>
                  </a:lnTo>
                  <a:lnTo>
                    <a:pt x="202" y="2"/>
                  </a:lnTo>
                  <a:lnTo>
                    <a:pt x="204" y="12"/>
                  </a:lnTo>
                  <a:lnTo>
                    <a:pt x="214" y="14"/>
                  </a:lnTo>
                  <a:lnTo>
                    <a:pt x="238" y="10"/>
                  </a:lnTo>
                  <a:lnTo>
                    <a:pt x="248" y="0"/>
                  </a:lnTo>
                  <a:lnTo>
                    <a:pt x="278" y="0"/>
                  </a:lnTo>
                  <a:lnTo>
                    <a:pt x="284" y="12"/>
                  </a:lnTo>
                  <a:lnTo>
                    <a:pt x="296" y="12"/>
                  </a:lnTo>
                  <a:lnTo>
                    <a:pt x="308" y="6"/>
                  </a:lnTo>
                  <a:lnTo>
                    <a:pt x="326" y="16"/>
                  </a:lnTo>
                  <a:lnTo>
                    <a:pt x="326" y="36"/>
                  </a:lnTo>
                  <a:lnTo>
                    <a:pt x="334" y="46"/>
                  </a:lnTo>
                  <a:lnTo>
                    <a:pt x="332" y="58"/>
                  </a:lnTo>
                  <a:lnTo>
                    <a:pt x="326" y="72"/>
                  </a:lnTo>
                  <a:lnTo>
                    <a:pt x="316" y="72"/>
                  </a:lnTo>
                  <a:lnTo>
                    <a:pt x="312" y="76"/>
                  </a:lnTo>
                  <a:lnTo>
                    <a:pt x="318" y="86"/>
                  </a:lnTo>
                  <a:lnTo>
                    <a:pt x="318" y="96"/>
                  </a:lnTo>
                  <a:lnTo>
                    <a:pt x="312" y="106"/>
                  </a:lnTo>
                  <a:lnTo>
                    <a:pt x="296" y="114"/>
                  </a:lnTo>
                  <a:lnTo>
                    <a:pt x="296" y="124"/>
                  </a:lnTo>
                  <a:lnTo>
                    <a:pt x="296" y="134"/>
                  </a:lnTo>
                  <a:lnTo>
                    <a:pt x="280" y="136"/>
                  </a:lnTo>
                  <a:lnTo>
                    <a:pt x="256" y="134"/>
                  </a:lnTo>
                  <a:lnTo>
                    <a:pt x="244" y="138"/>
                  </a:lnTo>
                  <a:lnTo>
                    <a:pt x="222" y="138"/>
                  </a:lnTo>
                  <a:lnTo>
                    <a:pt x="214" y="148"/>
                  </a:lnTo>
                  <a:lnTo>
                    <a:pt x="180" y="138"/>
                  </a:lnTo>
                  <a:lnTo>
                    <a:pt x="162" y="138"/>
                  </a:lnTo>
                  <a:lnTo>
                    <a:pt x="120" y="128"/>
                  </a:lnTo>
                  <a:lnTo>
                    <a:pt x="114" y="118"/>
                  </a:lnTo>
                  <a:lnTo>
                    <a:pt x="114" y="108"/>
                  </a:lnTo>
                  <a:lnTo>
                    <a:pt x="110" y="102"/>
                  </a:lnTo>
                  <a:lnTo>
                    <a:pt x="106" y="98"/>
                  </a:lnTo>
                  <a:lnTo>
                    <a:pt x="78" y="100"/>
                  </a:lnTo>
                  <a:lnTo>
                    <a:pt x="42" y="104"/>
                  </a:lnTo>
                  <a:lnTo>
                    <a:pt x="38" y="94"/>
                  </a:lnTo>
                  <a:lnTo>
                    <a:pt x="32" y="92"/>
                  </a:lnTo>
                  <a:lnTo>
                    <a:pt x="20" y="88"/>
                  </a:lnTo>
                  <a:lnTo>
                    <a:pt x="10" y="86"/>
                  </a:lnTo>
                  <a:lnTo>
                    <a:pt x="10" y="76"/>
                  </a:lnTo>
                  <a:lnTo>
                    <a:pt x="10" y="6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33" name="Freeform 27"/>
            <p:cNvSpPr>
              <a:spLocks/>
            </p:cNvSpPr>
            <p:nvPr/>
          </p:nvSpPr>
          <p:spPr bwMode="auto">
            <a:xfrm>
              <a:off x="2024355" y="2505600"/>
              <a:ext cx="213337" cy="133697"/>
            </a:xfrm>
            <a:custGeom>
              <a:avLst/>
              <a:gdLst>
                <a:gd name="T0" fmla="*/ 0 w 310"/>
                <a:gd name="T1" fmla="*/ 116 h 184"/>
                <a:gd name="T2" fmla="*/ 10 w 310"/>
                <a:gd name="T3" fmla="*/ 124 h 184"/>
                <a:gd name="T4" fmla="*/ 8 w 310"/>
                <a:gd name="T5" fmla="*/ 128 h 184"/>
                <a:gd name="T6" fmla="*/ 12 w 310"/>
                <a:gd name="T7" fmla="*/ 136 h 184"/>
                <a:gd name="T8" fmla="*/ 20 w 310"/>
                <a:gd name="T9" fmla="*/ 136 h 184"/>
                <a:gd name="T10" fmla="*/ 50 w 310"/>
                <a:gd name="T11" fmla="*/ 166 h 184"/>
                <a:gd name="T12" fmla="*/ 60 w 310"/>
                <a:gd name="T13" fmla="*/ 168 h 184"/>
                <a:gd name="T14" fmla="*/ 86 w 310"/>
                <a:gd name="T15" fmla="*/ 184 h 184"/>
                <a:gd name="T16" fmla="*/ 98 w 310"/>
                <a:gd name="T17" fmla="*/ 174 h 184"/>
                <a:gd name="T18" fmla="*/ 114 w 310"/>
                <a:gd name="T19" fmla="*/ 176 h 184"/>
                <a:gd name="T20" fmla="*/ 120 w 310"/>
                <a:gd name="T21" fmla="*/ 178 h 184"/>
                <a:gd name="T22" fmla="*/ 134 w 310"/>
                <a:gd name="T23" fmla="*/ 174 h 184"/>
                <a:gd name="T24" fmla="*/ 162 w 310"/>
                <a:gd name="T25" fmla="*/ 164 h 184"/>
                <a:gd name="T26" fmla="*/ 194 w 310"/>
                <a:gd name="T27" fmla="*/ 158 h 184"/>
                <a:gd name="T28" fmla="*/ 206 w 310"/>
                <a:gd name="T29" fmla="*/ 160 h 184"/>
                <a:gd name="T30" fmla="*/ 210 w 310"/>
                <a:gd name="T31" fmla="*/ 168 h 184"/>
                <a:gd name="T32" fmla="*/ 222 w 310"/>
                <a:gd name="T33" fmla="*/ 156 h 184"/>
                <a:gd name="T34" fmla="*/ 236 w 310"/>
                <a:gd name="T35" fmla="*/ 150 h 184"/>
                <a:gd name="T36" fmla="*/ 250 w 310"/>
                <a:gd name="T37" fmla="*/ 148 h 184"/>
                <a:gd name="T38" fmla="*/ 276 w 310"/>
                <a:gd name="T39" fmla="*/ 124 h 184"/>
                <a:gd name="T40" fmla="*/ 282 w 310"/>
                <a:gd name="T41" fmla="*/ 110 h 184"/>
                <a:gd name="T42" fmla="*/ 284 w 310"/>
                <a:gd name="T43" fmla="*/ 82 h 184"/>
                <a:gd name="T44" fmla="*/ 288 w 310"/>
                <a:gd name="T45" fmla="*/ 58 h 184"/>
                <a:gd name="T46" fmla="*/ 298 w 310"/>
                <a:gd name="T47" fmla="*/ 58 h 184"/>
                <a:gd name="T48" fmla="*/ 304 w 310"/>
                <a:gd name="T49" fmla="*/ 50 h 184"/>
                <a:gd name="T50" fmla="*/ 310 w 310"/>
                <a:gd name="T51" fmla="*/ 42 h 184"/>
                <a:gd name="T52" fmla="*/ 300 w 310"/>
                <a:gd name="T53" fmla="*/ 36 h 184"/>
                <a:gd name="T54" fmla="*/ 294 w 310"/>
                <a:gd name="T55" fmla="*/ 40 h 184"/>
                <a:gd name="T56" fmla="*/ 280 w 310"/>
                <a:gd name="T57" fmla="*/ 36 h 184"/>
                <a:gd name="T58" fmla="*/ 272 w 310"/>
                <a:gd name="T59" fmla="*/ 26 h 184"/>
                <a:gd name="T60" fmla="*/ 264 w 310"/>
                <a:gd name="T61" fmla="*/ 12 h 184"/>
                <a:gd name="T62" fmla="*/ 254 w 310"/>
                <a:gd name="T63" fmla="*/ 12 h 184"/>
                <a:gd name="T64" fmla="*/ 240 w 310"/>
                <a:gd name="T65" fmla="*/ 0 h 184"/>
                <a:gd name="T66" fmla="*/ 232 w 310"/>
                <a:gd name="T67" fmla="*/ 2 h 184"/>
                <a:gd name="T68" fmla="*/ 202 w 310"/>
                <a:gd name="T69" fmla="*/ 6 h 184"/>
                <a:gd name="T70" fmla="*/ 196 w 310"/>
                <a:gd name="T71" fmla="*/ 14 h 184"/>
                <a:gd name="T72" fmla="*/ 188 w 310"/>
                <a:gd name="T73" fmla="*/ 24 h 184"/>
                <a:gd name="T74" fmla="*/ 176 w 310"/>
                <a:gd name="T75" fmla="*/ 30 h 184"/>
                <a:gd name="T76" fmla="*/ 166 w 310"/>
                <a:gd name="T77" fmla="*/ 32 h 184"/>
                <a:gd name="T78" fmla="*/ 158 w 310"/>
                <a:gd name="T79" fmla="*/ 30 h 184"/>
                <a:gd name="T80" fmla="*/ 152 w 310"/>
                <a:gd name="T81" fmla="*/ 26 h 184"/>
                <a:gd name="T82" fmla="*/ 146 w 310"/>
                <a:gd name="T83" fmla="*/ 24 h 184"/>
                <a:gd name="T84" fmla="*/ 138 w 310"/>
                <a:gd name="T85" fmla="*/ 28 h 184"/>
                <a:gd name="T86" fmla="*/ 124 w 310"/>
                <a:gd name="T87" fmla="*/ 34 h 184"/>
                <a:gd name="T88" fmla="*/ 98 w 310"/>
                <a:gd name="T89" fmla="*/ 46 h 184"/>
                <a:gd name="T90" fmla="*/ 88 w 310"/>
                <a:gd name="T91" fmla="*/ 48 h 184"/>
                <a:gd name="T92" fmla="*/ 60 w 310"/>
                <a:gd name="T93" fmla="*/ 46 h 184"/>
                <a:gd name="T94" fmla="*/ 56 w 310"/>
                <a:gd name="T95" fmla="*/ 44 h 184"/>
                <a:gd name="T96" fmla="*/ 50 w 310"/>
                <a:gd name="T97" fmla="*/ 34 h 184"/>
                <a:gd name="T98" fmla="*/ 40 w 310"/>
                <a:gd name="T99" fmla="*/ 28 h 184"/>
                <a:gd name="T100" fmla="*/ 38 w 310"/>
                <a:gd name="T101" fmla="*/ 32 h 184"/>
                <a:gd name="T102" fmla="*/ 36 w 310"/>
                <a:gd name="T103" fmla="*/ 42 h 184"/>
                <a:gd name="T104" fmla="*/ 30 w 310"/>
                <a:gd name="T105" fmla="*/ 54 h 184"/>
                <a:gd name="T106" fmla="*/ 22 w 310"/>
                <a:gd name="T107" fmla="*/ 54 h 184"/>
                <a:gd name="T108" fmla="*/ 18 w 310"/>
                <a:gd name="T109" fmla="*/ 56 h 184"/>
                <a:gd name="T110" fmla="*/ 24 w 310"/>
                <a:gd name="T111" fmla="*/ 68 h 184"/>
                <a:gd name="T112" fmla="*/ 22 w 310"/>
                <a:gd name="T113" fmla="*/ 78 h 184"/>
                <a:gd name="T114" fmla="*/ 16 w 310"/>
                <a:gd name="T115" fmla="*/ 88 h 184"/>
                <a:gd name="T116" fmla="*/ 10 w 310"/>
                <a:gd name="T117" fmla="*/ 92 h 184"/>
                <a:gd name="T118" fmla="*/ 2 w 310"/>
                <a:gd name="T119" fmla="*/ 96 h 184"/>
                <a:gd name="T120" fmla="*/ 0 w 310"/>
                <a:gd name="T121" fmla="*/ 104 h 184"/>
                <a:gd name="T122" fmla="*/ 0 w 310"/>
                <a:gd name="T123" fmla="*/ 11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0" h="184">
                  <a:moveTo>
                    <a:pt x="0" y="116"/>
                  </a:moveTo>
                  <a:lnTo>
                    <a:pt x="10" y="124"/>
                  </a:lnTo>
                  <a:lnTo>
                    <a:pt x="8" y="128"/>
                  </a:lnTo>
                  <a:lnTo>
                    <a:pt x="12" y="136"/>
                  </a:lnTo>
                  <a:lnTo>
                    <a:pt x="20" y="136"/>
                  </a:lnTo>
                  <a:lnTo>
                    <a:pt x="50" y="166"/>
                  </a:lnTo>
                  <a:lnTo>
                    <a:pt x="60" y="168"/>
                  </a:lnTo>
                  <a:lnTo>
                    <a:pt x="86" y="184"/>
                  </a:lnTo>
                  <a:lnTo>
                    <a:pt x="98" y="174"/>
                  </a:lnTo>
                  <a:lnTo>
                    <a:pt x="114" y="176"/>
                  </a:lnTo>
                  <a:lnTo>
                    <a:pt x="120" y="178"/>
                  </a:lnTo>
                  <a:lnTo>
                    <a:pt x="134" y="174"/>
                  </a:lnTo>
                  <a:lnTo>
                    <a:pt x="162" y="164"/>
                  </a:lnTo>
                  <a:lnTo>
                    <a:pt x="194" y="158"/>
                  </a:lnTo>
                  <a:lnTo>
                    <a:pt x="206" y="160"/>
                  </a:lnTo>
                  <a:lnTo>
                    <a:pt x="210" y="168"/>
                  </a:lnTo>
                  <a:lnTo>
                    <a:pt x="222" y="156"/>
                  </a:lnTo>
                  <a:lnTo>
                    <a:pt x="236" y="150"/>
                  </a:lnTo>
                  <a:lnTo>
                    <a:pt x="250" y="148"/>
                  </a:lnTo>
                  <a:lnTo>
                    <a:pt x="276" y="124"/>
                  </a:lnTo>
                  <a:lnTo>
                    <a:pt x="282" y="110"/>
                  </a:lnTo>
                  <a:lnTo>
                    <a:pt x="284" y="82"/>
                  </a:lnTo>
                  <a:lnTo>
                    <a:pt x="288" y="58"/>
                  </a:lnTo>
                  <a:lnTo>
                    <a:pt x="298" y="58"/>
                  </a:lnTo>
                  <a:lnTo>
                    <a:pt x="304" y="50"/>
                  </a:lnTo>
                  <a:lnTo>
                    <a:pt x="310" y="42"/>
                  </a:lnTo>
                  <a:lnTo>
                    <a:pt x="300" y="36"/>
                  </a:lnTo>
                  <a:lnTo>
                    <a:pt x="294" y="40"/>
                  </a:lnTo>
                  <a:lnTo>
                    <a:pt x="280" y="36"/>
                  </a:lnTo>
                  <a:lnTo>
                    <a:pt x="272" y="26"/>
                  </a:lnTo>
                  <a:lnTo>
                    <a:pt x="264" y="12"/>
                  </a:lnTo>
                  <a:lnTo>
                    <a:pt x="254" y="12"/>
                  </a:lnTo>
                  <a:lnTo>
                    <a:pt x="240" y="0"/>
                  </a:lnTo>
                  <a:lnTo>
                    <a:pt x="232" y="2"/>
                  </a:lnTo>
                  <a:lnTo>
                    <a:pt x="202" y="6"/>
                  </a:lnTo>
                  <a:lnTo>
                    <a:pt x="196" y="14"/>
                  </a:lnTo>
                  <a:lnTo>
                    <a:pt x="188" y="24"/>
                  </a:lnTo>
                  <a:lnTo>
                    <a:pt x="176" y="30"/>
                  </a:lnTo>
                  <a:lnTo>
                    <a:pt x="166" y="32"/>
                  </a:lnTo>
                  <a:lnTo>
                    <a:pt x="158" y="30"/>
                  </a:lnTo>
                  <a:lnTo>
                    <a:pt x="152" y="26"/>
                  </a:lnTo>
                  <a:lnTo>
                    <a:pt x="146" y="24"/>
                  </a:lnTo>
                  <a:lnTo>
                    <a:pt x="138" y="28"/>
                  </a:lnTo>
                  <a:lnTo>
                    <a:pt x="124" y="34"/>
                  </a:lnTo>
                  <a:lnTo>
                    <a:pt x="98" y="46"/>
                  </a:lnTo>
                  <a:lnTo>
                    <a:pt x="88" y="48"/>
                  </a:lnTo>
                  <a:lnTo>
                    <a:pt x="60" y="46"/>
                  </a:lnTo>
                  <a:lnTo>
                    <a:pt x="56" y="44"/>
                  </a:lnTo>
                  <a:lnTo>
                    <a:pt x="50" y="34"/>
                  </a:lnTo>
                  <a:lnTo>
                    <a:pt x="40" y="28"/>
                  </a:lnTo>
                  <a:lnTo>
                    <a:pt x="38" y="32"/>
                  </a:lnTo>
                  <a:lnTo>
                    <a:pt x="36" y="42"/>
                  </a:lnTo>
                  <a:lnTo>
                    <a:pt x="30" y="54"/>
                  </a:lnTo>
                  <a:lnTo>
                    <a:pt x="22" y="54"/>
                  </a:lnTo>
                  <a:lnTo>
                    <a:pt x="18" y="56"/>
                  </a:lnTo>
                  <a:lnTo>
                    <a:pt x="24" y="68"/>
                  </a:lnTo>
                  <a:lnTo>
                    <a:pt x="22" y="78"/>
                  </a:lnTo>
                  <a:lnTo>
                    <a:pt x="16" y="88"/>
                  </a:lnTo>
                  <a:lnTo>
                    <a:pt x="10" y="92"/>
                  </a:lnTo>
                  <a:lnTo>
                    <a:pt x="2" y="96"/>
                  </a:lnTo>
                  <a:lnTo>
                    <a:pt x="0" y="104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34" name="Freeform 28"/>
            <p:cNvSpPr>
              <a:spLocks/>
            </p:cNvSpPr>
            <p:nvPr/>
          </p:nvSpPr>
          <p:spPr bwMode="auto">
            <a:xfrm>
              <a:off x="2024355" y="2505600"/>
              <a:ext cx="213337" cy="133697"/>
            </a:xfrm>
            <a:custGeom>
              <a:avLst/>
              <a:gdLst>
                <a:gd name="T0" fmla="*/ 0 w 310"/>
                <a:gd name="T1" fmla="*/ 116 h 184"/>
                <a:gd name="T2" fmla="*/ 10 w 310"/>
                <a:gd name="T3" fmla="*/ 124 h 184"/>
                <a:gd name="T4" fmla="*/ 8 w 310"/>
                <a:gd name="T5" fmla="*/ 128 h 184"/>
                <a:gd name="T6" fmla="*/ 12 w 310"/>
                <a:gd name="T7" fmla="*/ 136 h 184"/>
                <a:gd name="T8" fmla="*/ 20 w 310"/>
                <a:gd name="T9" fmla="*/ 136 h 184"/>
                <a:gd name="T10" fmla="*/ 50 w 310"/>
                <a:gd name="T11" fmla="*/ 166 h 184"/>
                <a:gd name="T12" fmla="*/ 60 w 310"/>
                <a:gd name="T13" fmla="*/ 168 h 184"/>
                <a:gd name="T14" fmla="*/ 86 w 310"/>
                <a:gd name="T15" fmla="*/ 184 h 184"/>
                <a:gd name="T16" fmla="*/ 98 w 310"/>
                <a:gd name="T17" fmla="*/ 174 h 184"/>
                <a:gd name="T18" fmla="*/ 114 w 310"/>
                <a:gd name="T19" fmla="*/ 176 h 184"/>
                <a:gd name="T20" fmla="*/ 120 w 310"/>
                <a:gd name="T21" fmla="*/ 178 h 184"/>
                <a:gd name="T22" fmla="*/ 134 w 310"/>
                <a:gd name="T23" fmla="*/ 174 h 184"/>
                <a:gd name="T24" fmla="*/ 162 w 310"/>
                <a:gd name="T25" fmla="*/ 164 h 184"/>
                <a:gd name="T26" fmla="*/ 194 w 310"/>
                <a:gd name="T27" fmla="*/ 158 h 184"/>
                <a:gd name="T28" fmla="*/ 206 w 310"/>
                <a:gd name="T29" fmla="*/ 160 h 184"/>
                <a:gd name="T30" fmla="*/ 210 w 310"/>
                <a:gd name="T31" fmla="*/ 168 h 184"/>
                <a:gd name="T32" fmla="*/ 222 w 310"/>
                <a:gd name="T33" fmla="*/ 156 h 184"/>
                <a:gd name="T34" fmla="*/ 236 w 310"/>
                <a:gd name="T35" fmla="*/ 150 h 184"/>
                <a:gd name="T36" fmla="*/ 250 w 310"/>
                <a:gd name="T37" fmla="*/ 148 h 184"/>
                <a:gd name="T38" fmla="*/ 276 w 310"/>
                <a:gd name="T39" fmla="*/ 124 h 184"/>
                <a:gd name="T40" fmla="*/ 282 w 310"/>
                <a:gd name="T41" fmla="*/ 110 h 184"/>
                <a:gd name="T42" fmla="*/ 284 w 310"/>
                <a:gd name="T43" fmla="*/ 82 h 184"/>
                <a:gd name="T44" fmla="*/ 288 w 310"/>
                <a:gd name="T45" fmla="*/ 58 h 184"/>
                <a:gd name="T46" fmla="*/ 298 w 310"/>
                <a:gd name="T47" fmla="*/ 58 h 184"/>
                <a:gd name="T48" fmla="*/ 304 w 310"/>
                <a:gd name="T49" fmla="*/ 50 h 184"/>
                <a:gd name="T50" fmla="*/ 310 w 310"/>
                <a:gd name="T51" fmla="*/ 42 h 184"/>
                <a:gd name="T52" fmla="*/ 300 w 310"/>
                <a:gd name="T53" fmla="*/ 36 h 184"/>
                <a:gd name="T54" fmla="*/ 294 w 310"/>
                <a:gd name="T55" fmla="*/ 40 h 184"/>
                <a:gd name="T56" fmla="*/ 280 w 310"/>
                <a:gd name="T57" fmla="*/ 36 h 184"/>
                <a:gd name="T58" fmla="*/ 272 w 310"/>
                <a:gd name="T59" fmla="*/ 26 h 184"/>
                <a:gd name="T60" fmla="*/ 264 w 310"/>
                <a:gd name="T61" fmla="*/ 12 h 184"/>
                <a:gd name="T62" fmla="*/ 254 w 310"/>
                <a:gd name="T63" fmla="*/ 12 h 184"/>
                <a:gd name="T64" fmla="*/ 240 w 310"/>
                <a:gd name="T65" fmla="*/ 0 h 184"/>
                <a:gd name="T66" fmla="*/ 232 w 310"/>
                <a:gd name="T67" fmla="*/ 2 h 184"/>
                <a:gd name="T68" fmla="*/ 202 w 310"/>
                <a:gd name="T69" fmla="*/ 6 h 184"/>
                <a:gd name="T70" fmla="*/ 196 w 310"/>
                <a:gd name="T71" fmla="*/ 14 h 184"/>
                <a:gd name="T72" fmla="*/ 188 w 310"/>
                <a:gd name="T73" fmla="*/ 24 h 184"/>
                <a:gd name="T74" fmla="*/ 176 w 310"/>
                <a:gd name="T75" fmla="*/ 30 h 184"/>
                <a:gd name="T76" fmla="*/ 166 w 310"/>
                <a:gd name="T77" fmla="*/ 32 h 184"/>
                <a:gd name="T78" fmla="*/ 158 w 310"/>
                <a:gd name="T79" fmla="*/ 30 h 184"/>
                <a:gd name="T80" fmla="*/ 152 w 310"/>
                <a:gd name="T81" fmla="*/ 26 h 184"/>
                <a:gd name="T82" fmla="*/ 146 w 310"/>
                <a:gd name="T83" fmla="*/ 24 h 184"/>
                <a:gd name="T84" fmla="*/ 138 w 310"/>
                <a:gd name="T85" fmla="*/ 28 h 184"/>
                <a:gd name="T86" fmla="*/ 124 w 310"/>
                <a:gd name="T87" fmla="*/ 34 h 184"/>
                <a:gd name="T88" fmla="*/ 98 w 310"/>
                <a:gd name="T89" fmla="*/ 46 h 184"/>
                <a:gd name="T90" fmla="*/ 88 w 310"/>
                <a:gd name="T91" fmla="*/ 48 h 184"/>
                <a:gd name="T92" fmla="*/ 60 w 310"/>
                <a:gd name="T93" fmla="*/ 46 h 184"/>
                <a:gd name="T94" fmla="*/ 56 w 310"/>
                <a:gd name="T95" fmla="*/ 44 h 184"/>
                <a:gd name="T96" fmla="*/ 50 w 310"/>
                <a:gd name="T97" fmla="*/ 34 h 184"/>
                <a:gd name="T98" fmla="*/ 40 w 310"/>
                <a:gd name="T99" fmla="*/ 28 h 184"/>
                <a:gd name="T100" fmla="*/ 38 w 310"/>
                <a:gd name="T101" fmla="*/ 32 h 184"/>
                <a:gd name="T102" fmla="*/ 36 w 310"/>
                <a:gd name="T103" fmla="*/ 42 h 184"/>
                <a:gd name="T104" fmla="*/ 30 w 310"/>
                <a:gd name="T105" fmla="*/ 54 h 184"/>
                <a:gd name="T106" fmla="*/ 22 w 310"/>
                <a:gd name="T107" fmla="*/ 54 h 184"/>
                <a:gd name="T108" fmla="*/ 18 w 310"/>
                <a:gd name="T109" fmla="*/ 56 h 184"/>
                <a:gd name="T110" fmla="*/ 24 w 310"/>
                <a:gd name="T111" fmla="*/ 68 h 184"/>
                <a:gd name="T112" fmla="*/ 22 w 310"/>
                <a:gd name="T113" fmla="*/ 78 h 184"/>
                <a:gd name="T114" fmla="*/ 16 w 310"/>
                <a:gd name="T115" fmla="*/ 88 h 184"/>
                <a:gd name="T116" fmla="*/ 10 w 310"/>
                <a:gd name="T117" fmla="*/ 92 h 184"/>
                <a:gd name="T118" fmla="*/ 2 w 310"/>
                <a:gd name="T119" fmla="*/ 96 h 184"/>
                <a:gd name="T120" fmla="*/ 0 w 310"/>
                <a:gd name="T121" fmla="*/ 104 h 184"/>
                <a:gd name="T122" fmla="*/ 0 w 310"/>
                <a:gd name="T123" fmla="*/ 11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0" h="184">
                  <a:moveTo>
                    <a:pt x="0" y="116"/>
                  </a:moveTo>
                  <a:lnTo>
                    <a:pt x="10" y="124"/>
                  </a:lnTo>
                  <a:lnTo>
                    <a:pt x="8" y="128"/>
                  </a:lnTo>
                  <a:lnTo>
                    <a:pt x="12" y="136"/>
                  </a:lnTo>
                  <a:lnTo>
                    <a:pt x="20" y="136"/>
                  </a:lnTo>
                  <a:lnTo>
                    <a:pt x="50" y="166"/>
                  </a:lnTo>
                  <a:lnTo>
                    <a:pt x="60" y="168"/>
                  </a:lnTo>
                  <a:lnTo>
                    <a:pt x="86" y="184"/>
                  </a:lnTo>
                  <a:lnTo>
                    <a:pt x="98" y="174"/>
                  </a:lnTo>
                  <a:lnTo>
                    <a:pt x="114" y="176"/>
                  </a:lnTo>
                  <a:lnTo>
                    <a:pt x="120" y="178"/>
                  </a:lnTo>
                  <a:lnTo>
                    <a:pt x="134" y="174"/>
                  </a:lnTo>
                  <a:lnTo>
                    <a:pt x="162" y="164"/>
                  </a:lnTo>
                  <a:lnTo>
                    <a:pt x="194" y="158"/>
                  </a:lnTo>
                  <a:lnTo>
                    <a:pt x="206" y="160"/>
                  </a:lnTo>
                  <a:lnTo>
                    <a:pt x="210" y="168"/>
                  </a:lnTo>
                  <a:lnTo>
                    <a:pt x="222" y="156"/>
                  </a:lnTo>
                  <a:lnTo>
                    <a:pt x="236" y="150"/>
                  </a:lnTo>
                  <a:lnTo>
                    <a:pt x="250" y="148"/>
                  </a:lnTo>
                  <a:lnTo>
                    <a:pt x="276" y="124"/>
                  </a:lnTo>
                  <a:lnTo>
                    <a:pt x="282" y="110"/>
                  </a:lnTo>
                  <a:lnTo>
                    <a:pt x="284" y="82"/>
                  </a:lnTo>
                  <a:lnTo>
                    <a:pt x="288" y="58"/>
                  </a:lnTo>
                  <a:lnTo>
                    <a:pt x="298" y="58"/>
                  </a:lnTo>
                  <a:lnTo>
                    <a:pt x="304" y="50"/>
                  </a:lnTo>
                  <a:lnTo>
                    <a:pt x="310" y="42"/>
                  </a:lnTo>
                  <a:lnTo>
                    <a:pt x="300" y="36"/>
                  </a:lnTo>
                  <a:lnTo>
                    <a:pt x="294" y="40"/>
                  </a:lnTo>
                  <a:lnTo>
                    <a:pt x="280" y="36"/>
                  </a:lnTo>
                  <a:lnTo>
                    <a:pt x="272" y="26"/>
                  </a:lnTo>
                  <a:lnTo>
                    <a:pt x="264" y="12"/>
                  </a:lnTo>
                  <a:lnTo>
                    <a:pt x="254" y="12"/>
                  </a:lnTo>
                  <a:lnTo>
                    <a:pt x="240" y="0"/>
                  </a:lnTo>
                  <a:lnTo>
                    <a:pt x="232" y="2"/>
                  </a:lnTo>
                  <a:lnTo>
                    <a:pt x="202" y="6"/>
                  </a:lnTo>
                  <a:lnTo>
                    <a:pt x="196" y="14"/>
                  </a:lnTo>
                  <a:lnTo>
                    <a:pt x="188" y="24"/>
                  </a:lnTo>
                  <a:lnTo>
                    <a:pt x="176" y="30"/>
                  </a:lnTo>
                  <a:lnTo>
                    <a:pt x="166" y="32"/>
                  </a:lnTo>
                  <a:lnTo>
                    <a:pt x="158" y="30"/>
                  </a:lnTo>
                  <a:lnTo>
                    <a:pt x="152" y="26"/>
                  </a:lnTo>
                  <a:lnTo>
                    <a:pt x="146" y="24"/>
                  </a:lnTo>
                  <a:lnTo>
                    <a:pt x="138" y="28"/>
                  </a:lnTo>
                  <a:lnTo>
                    <a:pt x="124" y="34"/>
                  </a:lnTo>
                  <a:lnTo>
                    <a:pt x="98" y="46"/>
                  </a:lnTo>
                  <a:lnTo>
                    <a:pt x="88" y="48"/>
                  </a:lnTo>
                  <a:lnTo>
                    <a:pt x="60" y="46"/>
                  </a:lnTo>
                  <a:lnTo>
                    <a:pt x="56" y="44"/>
                  </a:lnTo>
                  <a:lnTo>
                    <a:pt x="50" y="34"/>
                  </a:lnTo>
                  <a:lnTo>
                    <a:pt x="40" y="28"/>
                  </a:lnTo>
                  <a:lnTo>
                    <a:pt x="38" y="32"/>
                  </a:lnTo>
                  <a:lnTo>
                    <a:pt x="36" y="42"/>
                  </a:lnTo>
                  <a:lnTo>
                    <a:pt x="30" y="54"/>
                  </a:lnTo>
                  <a:lnTo>
                    <a:pt x="22" y="54"/>
                  </a:lnTo>
                  <a:lnTo>
                    <a:pt x="18" y="56"/>
                  </a:lnTo>
                  <a:lnTo>
                    <a:pt x="24" y="68"/>
                  </a:lnTo>
                  <a:lnTo>
                    <a:pt x="22" y="78"/>
                  </a:lnTo>
                  <a:lnTo>
                    <a:pt x="16" y="88"/>
                  </a:lnTo>
                  <a:lnTo>
                    <a:pt x="10" y="92"/>
                  </a:lnTo>
                  <a:lnTo>
                    <a:pt x="2" y="96"/>
                  </a:lnTo>
                  <a:lnTo>
                    <a:pt x="0" y="104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auto">
            <a:xfrm>
              <a:off x="1932138" y="2589887"/>
              <a:ext cx="100475" cy="59582"/>
            </a:xfrm>
            <a:custGeom>
              <a:avLst/>
              <a:gdLst>
                <a:gd name="T0" fmla="*/ 12 w 146"/>
                <a:gd name="T1" fmla="*/ 46 h 82"/>
                <a:gd name="T2" fmla="*/ 26 w 146"/>
                <a:gd name="T3" fmla="*/ 60 h 82"/>
                <a:gd name="T4" fmla="*/ 22 w 146"/>
                <a:gd name="T5" fmla="*/ 66 h 82"/>
                <a:gd name="T6" fmla="*/ 16 w 146"/>
                <a:gd name="T7" fmla="*/ 72 h 82"/>
                <a:gd name="T8" fmla="*/ 8 w 146"/>
                <a:gd name="T9" fmla="*/ 74 h 82"/>
                <a:gd name="T10" fmla="*/ 0 w 146"/>
                <a:gd name="T11" fmla="*/ 74 h 82"/>
                <a:gd name="T12" fmla="*/ 14 w 146"/>
                <a:gd name="T13" fmla="*/ 80 h 82"/>
                <a:gd name="T14" fmla="*/ 20 w 146"/>
                <a:gd name="T15" fmla="*/ 82 h 82"/>
                <a:gd name="T16" fmla="*/ 38 w 146"/>
                <a:gd name="T17" fmla="*/ 72 h 82"/>
                <a:gd name="T18" fmla="*/ 78 w 146"/>
                <a:gd name="T19" fmla="*/ 82 h 82"/>
                <a:gd name="T20" fmla="*/ 106 w 146"/>
                <a:gd name="T21" fmla="*/ 54 h 82"/>
                <a:gd name="T22" fmla="*/ 110 w 146"/>
                <a:gd name="T23" fmla="*/ 40 h 82"/>
                <a:gd name="T24" fmla="*/ 116 w 146"/>
                <a:gd name="T25" fmla="*/ 38 h 82"/>
                <a:gd name="T26" fmla="*/ 130 w 146"/>
                <a:gd name="T27" fmla="*/ 38 h 82"/>
                <a:gd name="T28" fmla="*/ 146 w 146"/>
                <a:gd name="T29" fmla="*/ 22 h 82"/>
                <a:gd name="T30" fmla="*/ 144 w 146"/>
                <a:gd name="T31" fmla="*/ 10 h 82"/>
                <a:gd name="T32" fmla="*/ 134 w 146"/>
                <a:gd name="T33" fmla="*/ 0 h 82"/>
                <a:gd name="T34" fmla="*/ 126 w 146"/>
                <a:gd name="T35" fmla="*/ 2 h 82"/>
                <a:gd name="T36" fmla="*/ 120 w 146"/>
                <a:gd name="T37" fmla="*/ 4 h 82"/>
                <a:gd name="T38" fmla="*/ 106 w 146"/>
                <a:gd name="T39" fmla="*/ 2 h 82"/>
                <a:gd name="T40" fmla="*/ 92 w 146"/>
                <a:gd name="T41" fmla="*/ 2 h 82"/>
                <a:gd name="T42" fmla="*/ 80 w 146"/>
                <a:gd name="T43" fmla="*/ 6 h 82"/>
                <a:gd name="T44" fmla="*/ 62 w 146"/>
                <a:gd name="T45" fmla="*/ 4 h 82"/>
                <a:gd name="T46" fmla="*/ 52 w 146"/>
                <a:gd name="T47" fmla="*/ 14 h 82"/>
                <a:gd name="T48" fmla="*/ 22 w 146"/>
                <a:gd name="T49" fmla="*/ 6 h 82"/>
                <a:gd name="T50" fmla="*/ 10 w 146"/>
                <a:gd name="T51" fmla="*/ 6 h 82"/>
                <a:gd name="T52" fmla="*/ 10 w 146"/>
                <a:gd name="T53" fmla="*/ 24 h 82"/>
                <a:gd name="T54" fmla="*/ 12 w 146"/>
                <a:gd name="T55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6" h="82">
                  <a:moveTo>
                    <a:pt x="12" y="46"/>
                  </a:moveTo>
                  <a:lnTo>
                    <a:pt x="26" y="60"/>
                  </a:lnTo>
                  <a:lnTo>
                    <a:pt x="22" y="66"/>
                  </a:lnTo>
                  <a:lnTo>
                    <a:pt x="16" y="72"/>
                  </a:lnTo>
                  <a:lnTo>
                    <a:pt x="8" y="74"/>
                  </a:lnTo>
                  <a:lnTo>
                    <a:pt x="0" y="74"/>
                  </a:lnTo>
                  <a:lnTo>
                    <a:pt x="14" y="80"/>
                  </a:lnTo>
                  <a:lnTo>
                    <a:pt x="20" y="82"/>
                  </a:lnTo>
                  <a:lnTo>
                    <a:pt x="38" y="72"/>
                  </a:lnTo>
                  <a:lnTo>
                    <a:pt x="78" y="82"/>
                  </a:lnTo>
                  <a:lnTo>
                    <a:pt x="106" y="54"/>
                  </a:lnTo>
                  <a:lnTo>
                    <a:pt x="110" y="40"/>
                  </a:lnTo>
                  <a:lnTo>
                    <a:pt x="116" y="38"/>
                  </a:lnTo>
                  <a:lnTo>
                    <a:pt x="130" y="38"/>
                  </a:lnTo>
                  <a:lnTo>
                    <a:pt x="146" y="22"/>
                  </a:lnTo>
                  <a:lnTo>
                    <a:pt x="144" y="10"/>
                  </a:lnTo>
                  <a:lnTo>
                    <a:pt x="134" y="0"/>
                  </a:lnTo>
                  <a:lnTo>
                    <a:pt x="126" y="2"/>
                  </a:lnTo>
                  <a:lnTo>
                    <a:pt x="120" y="4"/>
                  </a:lnTo>
                  <a:lnTo>
                    <a:pt x="106" y="2"/>
                  </a:lnTo>
                  <a:lnTo>
                    <a:pt x="92" y="2"/>
                  </a:lnTo>
                  <a:lnTo>
                    <a:pt x="80" y="6"/>
                  </a:lnTo>
                  <a:lnTo>
                    <a:pt x="62" y="4"/>
                  </a:lnTo>
                  <a:lnTo>
                    <a:pt x="52" y="14"/>
                  </a:lnTo>
                  <a:lnTo>
                    <a:pt x="22" y="6"/>
                  </a:lnTo>
                  <a:lnTo>
                    <a:pt x="10" y="6"/>
                  </a:lnTo>
                  <a:lnTo>
                    <a:pt x="10" y="24"/>
                  </a:lnTo>
                  <a:lnTo>
                    <a:pt x="12" y="4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36" name="Freeform 30"/>
            <p:cNvSpPr>
              <a:spLocks/>
            </p:cNvSpPr>
            <p:nvPr/>
          </p:nvSpPr>
          <p:spPr bwMode="auto">
            <a:xfrm>
              <a:off x="1932138" y="2589887"/>
              <a:ext cx="100475" cy="59582"/>
            </a:xfrm>
            <a:custGeom>
              <a:avLst/>
              <a:gdLst>
                <a:gd name="T0" fmla="*/ 12 w 146"/>
                <a:gd name="T1" fmla="*/ 46 h 82"/>
                <a:gd name="T2" fmla="*/ 26 w 146"/>
                <a:gd name="T3" fmla="*/ 60 h 82"/>
                <a:gd name="T4" fmla="*/ 22 w 146"/>
                <a:gd name="T5" fmla="*/ 66 h 82"/>
                <a:gd name="T6" fmla="*/ 16 w 146"/>
                <a:gd name="T7" fmla="*/ 72 h 82"/>
                <a:gd name="T8" fmla="*/ 8 w 146"/>
                <a:gd name="T9" fmla="*/ 74 h 82"/>
                <a:gd name="T10" fmla="*/ 0 w 146"/>
                <a:gd name="T11" fmla="*/ 74 h 82"/>
                <a:gd name="T12" fmla="*/ 14 w 146"/>
                <a:gd name="T13" fmla="*/ 80 h 82"/>
                <a:gd name="T14" fmla="*/ 20 w 146"/>
                <a:gd name="T15" fmla="*/ 82 h 82"/>
                <a:gd name="T16" fmla="*/ 38 w 146"/>
                <a:gd name="T17" fmla="*/ 72 h 82"/>
                <a:gd name="T18" fmla="*/ 78 w 146"/>
                <a:gd name="T19" fmla="*/ 82 h 82"/>
                <a:gd name="T20" fmla="*/ 106 w 146"/>
                <a:gd name="T21" fmla="*/ 54 h 82"/>
                <a:gd name="T22" fmla="*/ 110 w 146"/>
                <a:gd name="T23" fmla="*/ 40 h 82"/>
                <a:gd name="T24" fmla="*/ 116 w 146"/>
                <a:gd name="T25" fmla="*/ 38 h 82"/>
                <a:gd name="T26" fmla="*/ 130 w 146"/>
                <a:gd name="T27" fmla="*/ 38 h 82"/>
                <a:gd name="T28" fmla="*/ 146 w 146"/>
                <a:gd name="T29" fmla="*/ 22 h 82"/>
                <a:gd name="T30" fmla="*/ 144 w 146"/>
                <a:gd name="T31" fmla="*/ 10 h 82"/>
                <a:gd name="T32" fmla="*/ 134 w 146"/>
                <a:gd name="T33" fmla="*/ 0 h 82"/>
                <a:gd name="T34" fmla="*/ 126 w 146"/>
                <a:gd name="T35" fmla="*/ 2 h 82"/>
                <a:gd name="T36" fmla="*/ 120 w 146"/>
                <a:gd name="T37" fmla="*/ 4 h 82"/>
                <a:gd name="T38" fmla="*/ 106 w 146"/>
                <a:gd name="T39" fmla="*/ 2 h 82"/>
                <a:gd name="T40" fmla="*/ 92 w 146"/>
                <a:gd name="T41" fmla="*/ 2 h 82"/>
                <a:gd name="T42" fmla="*/ 80 w 146"/>
                <a:gd name="T43" fmla="*/ 6 h 82"/>
                <a:gd name="T44" fmla="*/ 62 w 146"/>
                <a:gd name="T45" fmla="*/ 4 h 82"/>
                <a:gd name="T46" fmla="*/ 52 w 146"/>
                <a:gd name="T47" fmla="*/ 14 h 82"/>
                <a:gd name="T48" fmla="*/ 22 w 146"/>
                <a:gd name="T49" fmla="*/ 6 h 82"/>
                <a:gd name="T50" fmla="*/ 10 w 146"/>
                <a:gd name="T51" fmla="*/ 6 h 82"/>
                <a:gd name="T52" fmla="*/ 10 w 146"/>
                <a:gd name="T53" fmla="*/ 24 h 82"/>
                <a:gd name="T54" fmla="*/ 12 w 146"/>
                <a:gd name="T55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6" h="82">
                  <a:moveTo>
                    <a:pt x="12" y="46"/>
                  </a:moveTo>
                  <a:lnTo>
                    <a:pt x="26" y="60"/>
                  </a:lnTo>
                  <a:lnTo>
                    <a:pt x="22" y="66"/>
                  </a:lnTo>
                  <a:lnTo>
                    <a:pt x="16" y="72"/>
                  </a:lnTo>
                  <a:lnTo>
                    <a:pt x="8" y="74"/>
                  </a:lnTo>
                  <a:lnTo>
                    <a:pt x="0" y="74"/>
                  </a:lnTo>
                  <a:lnTo>
                    <a:pt x="14" y="80"/>
                  </a:lnTo>
                  <a:lnTo>
                    <a:pt x="20" y="82"/>
                  </a:lnTo>
                  <a:lnTo>
                    <a:pt x="38" y="72"/>
                  </a:lnTo>
                  <a:lnTo>
                    <a:pt x="78" y="82"/>
                  </a:lnTo>
                  <a:lnTo>
                    <a:pt x="106" y="54"/>
                  </a:lnTo>
                  <a:lnTo>
                    <a:pt x="110" y="40"/>
                  </a:lnTo>
                  <a:lnTo>
                    <a:pt x="116" y="38"/>
                  </a:lnTo>
                  <a:lnTo>
                    <a:pt x="130" y="38"/>
                  </a:lnTo>
                  <a:lnTo>
                    <a:pt x="146" y="22"/>
                  </a:lnTo>
                  <a:lnTo>
                    <a:pt x="144" y="10"/>
                  </a:lnTo>
                  <a:lnTo>
                    <a:pt x="134" y="0"/>
                  </a:lnTo>
                  <a:lnTo>
                    <a:pt x="126" y="2"/>
                  </a:lnTo>
                  <a:lnTo>
                    <a:pt x="120" y="4"/>
                  </a:lnTo>
                  <a:lnTo>
                    <a:pt x="106" y="2"/>
                  </a:lnTo>
                  <a:lnTo>
                    <a:pt x="92" y="2"/>
                  </a:lnTo>
                  <a:lnTo>
                    <a:pt x="80" y="6"/>
                  </a:lnTo>
                  <a:lnTo>
                    <a:pt x="62" y="4"/>
                  </a:lnTo>
                  <a:lnTo>
                    <a:pt x="52" y="14"/>
                  </a:lnTo>
                  <a:lnTo>
                    <a:pt x="22" y="6"/>
                  </a:lnTo>
                  <a:lnTo>
                    <a:pt x="10" y="6"/>
                  </a:lnTo>
                  <a:lnTo>
                    <a:pt x="10" y="24"/>
                  </a:lnTo>
                  <a:lnTo>
                    <a:pt x="12" y="4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37" name="Freeform 31"/>
            <p:cNvSpPr>
              <a:spLocks/>
            </p:cNvSpPr>
            <p:nvPr/>
          </p:nvSpPr>
          <p:spPr bwMode="auto">
            <a:xfrm>
              <a:off x="2228057" y="2700332"/>
              <a:ext cx="194068" cy="146776"/>
            </a:xfrm>
            <a:custGeom>
              <a:avLst/>
              <a:gdLst>
                <a:gd name="T0" fmla="*/ 4 w 282"/>
                <a:gd name="T1" fmla="*/ 28 h 202"/>
                <a:gd name="T2" fmla="*/ 0 w 282"/>
                <a:gd name="T3" fmla="*/ 42 h 202"/>
                <a:gd name="T4" fmla="*/ 20 w 282"/>
                <a:gd name="T5" fmla="*/ 58 h 202"/>
                <a:gd name="T6" fmla="*/ 22 w 282"/>
                <a:gd name="T7" fmla="*/ 82 h 202"/>
                <a:gd name="T8" fmla="*/ 4 w 282"/>
                <a:gd name="T9" fmla="*/ 96 h 202"/>
                <a:gd name="T10" fmla="*/ 6 w 282"/>
                <a:gd name="T11" fmla="*/ 114 h 202"/>
                <a:gd name="T12" fmla="*/ 4 w 282"/>
                <a:gd name="T13" fmla="*/ 134 h 202"/>
                <a:gd name="T14" fmla="*/ 6 w 282"/>
                <a:gd name="T15" fmla="*/ 150 h 202"/>
                <a:gd name="T16" fmla="*/ 22 w 282"/>
                <a:gd name="T17" fmla="*/ 160 h 202"/>
                <a:gd name="T18" fmla="*/ 22 w 282"/>
                <a:gd name="T19" fmla="*/ 184 h 202"/>
                <a:gd name="T20" fmla="*/ 32 w 282"/>
                <a:gd name="T21" fmla="*/ 202 h 202"/>
                <a:gd name="T22" fmla="*/ 80 w 282"/>
                <a:gd name="T23" fmla="*/ 190 h 202"/>
                <a:gd name="T24" fmla="*/ 108 w 282"/>
                <a:gd name="T25" fmla="*/ 170 h 202"/>
                <a:gd name="T26" fmla="*/ 130 w 282"/>
                <a:gd name="T27" fmla="*/ 182 h 202"/>
                <a:gd name="T28" fmla="*/ 152 w 282"/>
                <a:gd name="T29" fmla="*/ 188 h 202"/>
                <a:gd name="T30" fmla="*/ 178 w 282"/>
                <a:gd name="T31" fmla="*/ 180 h 202"/>
                <a:gd name="T32" fmla="*/ 180 w 282"/>
                <a:gd name="T33" fmla="*/ 158 h 202"/>
                <a:gd name="T34" fmla="*/ 198 w 282"/>
                <a:gd name="T35" fmla="*/ 158 h 202"/>
                <a:gd name="T36" fmla="*/ 208 w 282"/>
                <a:gd name="T37" fmla="*/ 152 h 202"/>
                <a:gd name="T38" fmla="*/ 246 w 282"/>
                <a:gd name="T39" fmla="*/ 140 h 202"/>
                <a:gd name="T40" fmla="*/ 260 w 282"/>
                <a:gd name="T41" fmla="*/ 126 h 202"/>
                <a:gd name="T42" fmla="*/ 240 w 282"/>
                <a:gd name="T43" fmla="*/ 106 h 202"/>
                <a:gd name="T44" fmla="*/ 250 w 282"/>
                <a:gd name="T45" fmla="*/ 88 h 202"/>
                <a:gd name="T46" fmla="*/ 256 w 282"/>
                <a:gd name="T47" fmla="*/ 80 h 202"/>
                <a:gd name="T48" fmla="*/ 262 w 282"/>
                <a:gd name="T49" fmla="*/ 58 h 202"/>
                <a:gd name="T50" fmla="*/ 268 w 282"/>
                <a:gd name="T51" fmla="*/ 36 h 202"/>
                <a:gd name="T52" fmla="*/ 282 w 282"/>
                <a:gd name="T53" fmla="*/ 28 h 202"/>
                <a:gd name="T54" fmla="*/ 274 w 282"/>
                <a:gd name="T55" fmla="*/ 6 h 202"/>
                <a:gd name="T56" fmla="*/ 236 w 282"/>
                <a:gd name="T57" fmla="*/ 0 h 202"/>
                <a:gd name="T58" fmla="*/ 196 w 282"/>
                <a:gd name="T59" fmla="*/ 4 h 202"/>
                <a:gd name="T60" fmla="*/ 156 w 282"/>
                <a:gd name="T61" fmla="*/ 22 h 202"/>
                <a:gd name="T62" fmla="*/ 126 w 282"/>
                <a:gd name="T63" fmla="*/ 36 h 202"/>
                <a:gd name="T64" fmla="*/ 86 w 282"/>
                <a:gd name="T65" fmla="*/ 38 h 202"/>
                <a:gd name="T66" fmla="*/ 60 w 282"/>
                <a:gd name="T67" fmla="*/ 36 h 202"/>
                <a:gd name="T68" fmla="*/ 30 w 282"/>
                <a:gd name="T69" fmla="*/ 26 h 202"/>
                <a:gd name="T70" fmla="*/ 6 w 282"/>
                <a:gd name="T71" fmla="*/ 2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2" h="202">
                  <a:moveTo>
                    <a:pt x="6" y="24"/>
                  </a:moveTo>
                  <a:lnTo>
                    <a:pt x="4" y="28"/>
                  </a:lnTo>
                  <a:lnTo>
                    <a:pt x="0" y="32"/>
                  </a:lnTo>
                  <a:lnTo>
                    <a:pt x="0" y="42"/>
                  </a:lnTo>
                  <a:lnTo>
                    <a:pt x="8" y="58"/>
                  </a:lnTo>
                  <a:lnTo>
                    <a:pt x="20" y="58"/>
                  </a:lnTo>
                  <a:lnTo>
                    <a:pt x="22" y="66"/>
                  </a:lnTo>
                  <a:lnTo>
                    <a:pt x="22" y="82"/>
                  </a:lnTo>
                  <a:lnTo>
                    <a:pt x="16" y="88"/>
                  </a:lnTo>
                  <a:lnTo>
                    <a:pt x="4" y="96"/>
                  </a:lnTo>
                  <a:lnTo>
                    <a:pt x="2" y="102"/>
                  </a:lnTo>
                  <a:lnTo>
                    <a:pt x="6" y="114"/>
                  </a:lnTo>
                  <a:lnTo>
                    <a:pt x="8" y="124"/>
                  </a:lnTo>
                  <a:lnTo>
                    <a:pt x="4" y="134"/>
                  </a:lnTo>
                  <a:lnTo>
                    <a:pt x="0" y="140"/>
                  </a:lnTo>
                  <a:lnTo>
                    <a:pt x="6" y="150"/>
                  </a:lnTo>
                  <a:lnTo>
                    <a:pt x="12" y="148"/>
                  </a:lnTo>
                  <a:lnTo>
                    <a:pt x="22" y="160"/>
                  </a:lnTo>
                  <a:lnTo>
                    <a:pt x="22" y="170"/>
                  </a:lnTo>
                  <a:lnTo>
                    <a:pt x="22" y="184"/>
                  </a:lnTo>
                  <a:lnTo>
                    <a:pt x="22" y="190"/>
                  </a:lnTo>
                  <a:lnTo>
                    <a:pt x="32" y="202"/>
                  </a:lnTo>
                  <a:lnTo>
                    <a:pt x="54" y="198"/>
                  </a:lnTo>
                  <a:lnTo>
                    <a:pt x="80" y="190"/>
                  </a:lnTo>
                  <a:lnTo>
                    <a:pt x="100" y="178"/>
                  </a:lnTo>
                  <a:lnTo>
                    <a:pt x="108" y="170"/>
                  </a:lnTo>
                  <a:lnTo>
                    <a:pt x="122" y="186"/>
                  </a:lnTo>
                  <a:lnTo>
                    <a:pt x="130" y="182"/>
                  </a:lnTo>
                  <a:lnTo>
                    <a:pt x="144" y="186"/>
                  </a:lnTo>
                  <a:lnTo>
                    <a:pt x="152" y="188"/>
                  </a:lnTo>
                  <a:lnTo>
                    <a:pt x="168" y="182"/>
                  </a:lnTo>
                  <a:lnTo>
                    <a:pt x="178" y="180"/>
                  </a:lnTo>
                  <a:lnTo>
                    <a:pt x="178" y="172"/>
                  </a:lnTo>
                  <a:lnTo>
                    <a:pt x="180" y="158"/>
                  </a:lnTo>
                  <a:lnTo>
                    <a:pt x="188" y="154"/>
                  </a:lnTo>
                  <a:lnTo>
                    <a:pt x="198" y="158"/>
                  </a:lnTo>
                  <a:lnTo>
                    <a:pt x="200" y="164"/>
                  </a:lnTo>
                  <a:lnTo>
                    <a:pt x="208" y="152"/>
                  </a:lnTo>
                  <a:lnTo>
                    <a:pt x="228" y="144"/>
                  </a:lnTo>
                  <a:lnTo>
                    <a:pt x="246" y="140"/>
                  </a:lnTo>
                  <a:lnTo>
                    <a:pt x="262" y="140"/>
                  </a:lnTo>
                  <a:lnTo>
                    <a:pt x="260" y="126"/>
                  </a:lnTo>
                  <a:lnTo>
                    <a:pt x="258" y="118"/>
                  </a:lnTo>
                  <a:lnTo>
                    <a:pt x="240" y="106"/>
                  </a:lnTo>
                  <a:lnTo>
                    <a:pt x="240" y="102"/>
                  </a:lnTo>
                  <a:lnTo>
                    <a:pt x="250" y="88"/>
                  </a:lnTo>
                  <a:lnTo>
                    <a:pt x="260" y="86"/>
                  </a:lnTo>
                  <a:lnTo>
                    <a:pt x="256" y="80"/>
                  </a:lnTo>
                  <a:lnTo>
                    <a:pt x="262" y="66"/>
                  </a:lnTo>
                  <a:lnTo>
                    <a:pt x="262" y="58"/>
                  </a:lnTo>
                  <a:lnTo>
                    <a:pt x="264" y="44"/>
                  </a:lnTo>
                  <a:lnTo>
                    <a:pt x="268" y="36"/>
                  </a:lnTo>
                  <a:lnTo>
                    <a:pt x="276" y="38"/>
                  </a:lnTo>
                  <a:lnTo>
                    <a:pt x="282" y="28"/>
                  </a:lnTo>
                  <a:lnTo>
                    <a:pt x="276" y="18"/>
                  </a:lnTo>
                  <a:lnTo>
                    <a:pt x="274" y="6"/>
                  </a:lnTo>
                  <a:lnTo>
                    <a:pt x="268" y="8"/>
                  </a:lnTo>
                  <a:lnTo>
                    <a:pt x="236" y="0"/>
                  </a:lnTo>
                  <a:lnTo>
                    <a:pt x="214" y="0"/>
                  </a:lnTo>
                  <a:lnTo>
                    <a:pt x="196" y="4"/>
                  </a:lnTo>
                  <a:lnTo>
                    <a:pt x="178" y="12"/>
                  </a:lnTo>
                  <a:lnTo>
                    <a:pt x="156" y="22"/>
                  </a:lnTo>
                  <a:lnTo>
                    <a:pt x="142" y="34"/>
                  </a:lnTo>
                  <a:lnTo>
                    <a:pt x="126" y="36"/>
                  </a:lnTo>
                  <a:lnTo>
                    <a:pt x="106" y="32"/>
                  </a:lnTo>
                  <a:lnTo>
                    <a:pt x="86" y="38"/>
                  </a:lnTo>
                  <a:lnTo>
                    <a:pt x="74" y="42"/>
                  </a:lnTo>
                  <a:lnTo>
                    <a:pt x="60" y="36"/>
                  </a:lnTo>
                  <a:lnTo>
                    <a:pt x="40" y="28"/>
                  </a:lnTo>
                  <a:lnTo>
                    <a:pt x="30" y="26"/>
                  </a:lnTo>
                  <a:lnTo>
                    <a:pt x="14" y="24"/>
                  </a:lnTo>
                  <a:lnTo>
                    <a:pt x="6" y="2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2228057" y="2700332"/>
              <a:ext cx="194068" cy="146776"/>
            </a:xfrm>
            <a:custGeom>
              <a:avLst/>
              <a:gdLst>
                <a:gd name="T0" fmla="*/ 4 w 282"/>
                <a:gd name="T1" fmla="*/ 28 h 202"/>
                <a:gd name="T2" fmla="*/ 0 w 282"/>
                <a:gd name="T3" fmla="*/ 42 h 202"/>
                <a:gd name="T4" fmla="*/ 20 w 282"/>
                <a:gd name="T5" fmla="*/ 58 h 202"/>
                <a:gd name="T6" fmla="*/ 22 w 282"/>
                <a:gd name="T7" fmla="*/ 82 h 202"/>
                <a:gd name="T8" fmla="*/ 4 w 282"/>
                <a:gd name="T9" fmla="*/ 96 h 202"/>
                <a:gd name="T10" fmla="*/ 6 w 282"/>
                <a:gd name="T11" fmla="*/ 114 h 202"/>
                <a:gd name="T12" fmla="*/ 4 w 282"/>
                <a:gd name="T13" fmla="*/ 134 h 202"/>
                <a:gd name="T14" fmla="*/ 6 w 282"/>
                <a:gd name="T15" fmla="*/ 150 h 202"/>
                <a:gd name="T16" fmla="*/ 22 w 282"/>
                <a:gd name="T17" fmla="*/ 160 h 202"/>
                <a:gd name="T18" fmla="*/ 22 w 282"/>
                <a:gd name="T19" fmla="*/ 184 h 202"/>
                <a:gd name="T20" fmla="*/ 32 w 282"/>
                <a:gd name="T21" fmla="*/ 202 h 202"/>
                <a:gd name="T22" fmla="*/ 80 w 282"/>
                <a:gd name="T23" fmla="*/ 190 h 202"/>
                <a:gd name="T24" fmla="*/ 108 w 282"/>
                <a:gd name="T25" fmla="*/ 170 h 202"/>
                <a:gd name="T26" fmla="*/ 130 w 282"/>
                <a:gd name="T27" fmla="*/ 182 h 202"/>
                <a:gd name="T28" fmla="*/ 152 w 282"/>
                <a:gd name="T29" fmla="*/ 188 h 202"/>
                <a:gd name="T30" fmla="*/ 178 w 282"/>
                <a:gd name="T31" fmla="*/ 180 h 202"/>
                <a:gd name="T32" fmla="*/ 180 w 282"/>
                <a:gd name="T33" fmla="*/ 158 h 202"/>
                <a:gd name="T34" fmla="*/ 198 w 282"/>
                <a:gd name="T35" fmla="*/ 158 h 202"/>
                <a:gd name="T36" fmla="*/ 208 w 282"/>
                <a:gd name="T37" fmla="*/ 152 h 202"/>
                <a:gd name="T38" fmla="*/ 246 w 282"/>
                <a:gd name="T39" fmla="*/ 140 h 202"/>
                <a:gd name="T40" fmla="*/ 260 w 282"/>
                <a:gd name="T41" fmla="*/ 126 h 202"/>
                <a:gd name="T42" fmla="*/ 240 w 282"/>
                <a:gd name="T43" fmla="*/ 106 h 202"/>
                <a:gd name="T44" fmla="*/ 250 w 282"/>
                <a:gd name="T45" fmla="*/ 88 h 202"/>
                <a:gd name="T46" fmla="*/ 256 w 282"/>
                <a:gd name="T47" fmla="*/ 80 h 202"/>
                <a:gd name="T48" fmla="*/ 262 w 282"/>
                <a:gd name="T49" fmla="*/ 58 h 202"/>
                <a:gd name="T50" fmla="*/ 268 w 282"/>
                <a:gd name="T51" fmla="*/ 36 h 202"/>
                <a:gd name="T52" fmla="*/ 282 w 282"/>
                <a:gd name="T53" fmla="*/ 28 h 202"/>
                <a:gd name="T54" fmla="*/ 274 w 282"/>
                <a:gd name="T55" fmla="*/ 6 h 202"/>
                <a:gd name="T56" fmla="*/ 236 w 282"/>
                <a:gd name="T57" fmla="*/ 0 h 202"/>
                <a:gd name="T58" fmla="*/ 196 w 282"/>
                <a:gd name="T59" fmla="*/ 4 h 202"/>
                <a:gd name="T60" fmla="*/ 156 w 282"/>
                <a:gd name="T61" fmla="*/ 22 h 202"/>
                <a:gd name="T62" fmla="*/ 126 w 282"/>
                <a:gd name="T63" fmla="*/ 36 h 202"/>
                <a:gd name="T64" fmla="*/ 86 w 282"/>
                <a:gd name="T65" fmla="*/ 38 h 202"/>
                <a:gd name="T66" fmla="*/ 60 w 282"/>
                <a:gd name="T67" fmla="*/ 36 h 202"/>
                <a:gd name="T68" fmla="*/ 30 w 282"/>
                <a:gd name="T69" fmla="*/ 26 h 202"/>
                <a:gd name="T70" fmla="*/ 6 w 282"/>
                <a:gd name="T71" fmla="*/ 2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2" h="202">
                  <a:moveTo>
                    <a:pt x="6" y="24"/>
                  </a:moveTo>
                  <a:lnTo>
                    <a:pt x="4" y="28"/>
                  </a:lnTo>
                  <a:lnTo>
                    <a:pt x="0" y="32"/>
                  </a:lnTo>
                  <a:lnTo>
                    <a:pt x="0" y="42"/>
                  </a:lnTo>
                  <a:lnTo>
                    <a:pt x="8" y="58"/>
                  </a:lnTo>
                  <a:lnTo>
                    <a:pt x="20" y="58"/>
                  </a:lnTo>
                  <a:lnTo>
                    <a:pt x="22" y="66"/>
                  </a:lnTo>
                  <a:lnTo>
                    <a:pt x="22" y="82"/>
                  </a:lnTo>
                  <a:lnTo>
                    <a:pt x="16" y="88"/>
                  </a:lnTo>
                  <a:lnTo>
                    <a:pt x="4" y="96"/>
                  </a:lnTo>
                  <a:lnTo>
                    <a:pt x="2" y="102"/>
                  </a:lnTo>
                  <a:lnTo>
                    <a:pt x="6" y="114"/>
                  </a:lnTo>
                  <a:lnTo>
                    <a:pt x="8" y="124"/>
                  </a:lnTo>
                  <a:lnTo>
                    <a:pt x="4" y="134"/>
                  </a:lnTo>
                  <a:lnTo>
                    <a:pt x="0" y="140"/>
                  </a:lnTo>
                  <a:lnTo>
                    <a:pt x="6" y="150"/>
                  </a:lnTo>
                  <a:lnTo>
                    <a:pt x="12" y="148"/>
                  </a:lnTo>
                  <a:lnTo>
                    <a:pt x="22" y="160"/>
                  </a:lnTo>
                  <a:lnTo>
                    <a:pt x="22" y="170"/>
                  </a:lnTo>
                  <a:lnTo>
                    <a:pt x="22" y="184"/>
                  </a:lnTo>
                  <a:lnTo>
                    <a:pt x="22" y="190"/>
                  </a:lnTo>
                  <a:lnTo>
                    <a:pt x="32" y="202"/>
                  </a:lnTo>
                  <a:lnTo>
                    <a:pt x="54" y="198"/>
                  </a:lnTo>
                  <a:lnTo>
                    <a:pt x="80" y="190"/>
                  </a:lnTo>
                  <a:lnTo>
                    <a:pt x="100" y="178"/>
                  </a:lnTo>
                  <a:lnTo>
                    <a:pt x="108" y="170"/>
                  </a:lnTo>
                  <a:lnTo>
                    <a:pt x="122" y="186"/>
                  </a:lnTo>
                  <a:lnTo>
                    <a:pt x="130" y="182"/>
                  </a:lnTo>
                  <a:lnTo>
                    <a:pt x="144" y="186"/>
                  </a:lnTo>
                  <a:lnTo>
                    <a:pt x="152" y="188"/>
                  </a:lnTo>
                  <a:lnTo>
                    <a:pt x="168" y="182"/>
                  </a:lnTo>
                  <a:lnTo>
                    <a:pt x="178" y="180"/>
                  </a:lnTo>
                  <a:lnTo>
                    <a:pt x="178" y="172"/>
                  </a:lnTo>
                  <a:lnTo>
                    <a:pt x="180" y="158"/>
                  </a:lnTo>
                  <a:lnTo>
                    <a:pt x="188" y="154"/>
                  </a:lnTo>
                  <a:lnTo>
                    <a:pt x="198" y="158"/>
                  </a:lnTo>
                  <a:lnTo>
                    <a:pt x="200" y="164"/>
                  </a:lnTo>
                  <a:lnTo>
                    <a:pt x="208" y="152"/>
                  </a:lnTo>
                  <a:lnTo>
                    <a:pt x="228" y="144"/>
                  </a:lnTo>
                  <a:lnTo>
                    <a:pt x="246" y="140"/>
                  </a:lnTo>
                  <a:lnTo>
                    <a:pt x="262" y="140"/>
                  </a:lnTo>
                  <a:lnTo>
                    <a:pt x="260" y="126"/>
                  </a:lnTo>
                  <a:lnTo>
                    <a:pt x="258" y="118"/>
                  </a:lnTo>
                  <a:lnTo>
                    <a:pt x="240" y="106"/>
                  </a:lnTo>
                  <a:lnTo>
                    <a:pt x="240" y="102"/>
                  </a:lnTo>
                  <a:lnTo>
                    <a:pt x="250" y="88"/>
                  </a:lnTo>
                  <a:lnTo>
                    <a:pt x="260" y="86"/>
                  </a:lnTo>
                  <a:lnTo>
                    <a:pt x="256" y="80"/>
                  </a:lnTo>
                  <a:lnTo>
                    <a:pt x="262" y="66"/>
                  </a:lnTo>
                  <a:lnTo>
                    <a:pt x="262" y="58"/>
                  </a:lnTo>
                  <a:lnTo>
                    <a:pt x="264" y="44"/>
                  </a:lnTo>
                  <a:lnTo>
                    <a:pt x="268" y="36"/>
                  </a:lnTo>
                  <a:lnTo>
                    <a:pt x="276" y="38"/>
                  </a:lnTo>
                  <a:lnTo>
                    <a:pt x="282" y="28"/>
                  </a:lnTo>
                  <a:lnTo>
                    <a:pt x="276" y="18"/>
                  </a:lnTo>
                  <a:lnTo>
                    <a:pt x="274" y="6"/>
                  </a:lnTo>
                  <a:lnTo>
                    <a:pt x="268" y="8"/>
                  </a:lnTo>
                  <a:lnTo>
                    <a:pt x="236" y="0"/>
                  </a:lnTo>
                  <a:lnTo>
                    <a:pt x="214" y="0"/>
                  </a:lnTo>
                  <a:lnTo>
                    <a:pt x="196" y="4"/>
                  </a:lnTo>
                  <a:lnTo>
                    <a:pt x="178" y="12"/>
                  </a:lnTo>
                  <a:lnTo>
                    <a:pt x="156" y="22"/>
                  </a:lnTo>
                  <a:lnTo>
                    <a:pt x="142" y="34"/>
                  </a:lnTo>
                  <a:lnTo>
                    <a:pt x="126" y="36"/>
                  </a:lnTo>
                  <a:lnTo>
                    <a:pt x="106" y="32"/>
                  </a:lnTo>
                  <a:lnTo>
                    <a:pt x="86" y="38"/>
                  </a:lnTo>
                  <a:lnTo>
                    <a:pt x="74" y="42"/>
                  </a:lnTo>
                  <a:lnTo>
                    <a:pt x="60" y="36"/>
                  </a:lnTo>
                  <a:lnTo>
                    <a:pt x="40" y="28"/>
                  </a:lnTo>
                  <a:lnTo>
                    <a:pt x="30" y="26"/>
                  </a:lnTo>
                  <a:lnTo>
                    <a:pt x="14" y="24"/>
                  </a:lnTo>
                  <a:lnTo>
                    <a:pt x="6" y="2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41" name="Freeform 35"/>
            <p:cNvSpPr>
              <a:spLocks/>
            </p:cNvSpPr>
            <p:nvPr/>
          </p:nvSpPr>
          <p:spPr bwMode="auto">
            <a:xfrm>
              <a:off x="2170250" y="2518679"/>
              <a:ext cx="279403" cy="210717"/>
            </a:xfrm>
            <a:custGeom>
              <a:avLst/>
              <a:gdLst>
                <a:gd name="T0" fmla="*/ 90 w 406"/>
                <a:gd name="T1" fmla="*/ 32 h 290"/>
                <a:gd name="T2" fmla="*/ 76 w 406"/>
                <a:gd name="T3" fmla="*/ 40 h 290"/>
                <a:gd name="T4" fmla="*/ 70 w 406"/>
                <a:gd name="T5" fmla="*/ 94 h 290"/>
                <a:gd name="T6" fmla="*/ 46 w 406"/>
                <a:gd name="T7" fmla="*/ 122 h 290"/>
                <a:gd name="T8" fmla="*/ 14 w 406"/>
                <a:gd name="T9" fmla="*/ 136 h 290"/>
                <a:gd name="T10" fmla="*/ 0 w 406"/>
                <a:gd name="T11" fmla="*/ 154 h 290"/>
                <a:gd name="T12" fmla="*/ 12 w 406"/>
                <a:gd name="T13" fmla="*/ 170 h 290"/>
                <a:gd name="T14" fmla="*/ 12 w 406"/>
                <a:gd name="T15" fmla="*/ 186 h 290"/>
                <a:gd name="T16" fmla="*/ 30 w 406"/>
                <a:gd name="T17" fmla="*/ 190 h 290"/>
                <a:gd name="T18" fmla="*/ 38 w 406"/>
                <a:gd name="T19" fmla="*/ 212 h 290"/>
                <a:gd name="T20" fmla="*/ 44 w 406"/>
                <a:gd name="T21" fmla="*/ 234 h 290"/>
                <a:gd name="T22" fmla="*/ 56 w 406"/>
                <a:gd name="T23" fmla="*/ 234 h 290"/>
                <a:gd name="T24" fmla="*/ 76 w 406"/>
                <a:gd name="T25" fmla="*/ 234 h 290"/>
                <a:gd name="T26" fmla="*/ 76 w 406"/>
                <a:gd name="T27" fmla="*/ 246 h 290"/>
                <a:gd name="T28" fmla="*/ 90 w 406"/>
                <a:gd name="T29" fmla="*/ 258 h 290"/>
                <a:gd name="T30" fmla="*/ 90 w 406"/>
                <a:gd name="T31" fmla="*/ 272 h 290"/>
                <a:gd name="T32" fmla="*/ 118 w 406"/>
                <a:gd name="T33" fmla="*/ 278 h 290"/>
                <a:gd name="T34" fmla="*/ 156 w 406"/>
                <a:gd name="T35" fmla="*/ 290 h 290"/>
                <a:gd name="T36" fmla="*/ 186 w 406"/>
                <a:gd name="T37" fmla="*/ 282 h 290"/>
                <a:gd name="T38" fmla="*/ 220 w 406"/>
                <a:gd name="T39" fmla="*/ 284 h 290"/>
                <a:gd name="T40" fmla="*/ 238 w 406"/>
                <a:gd name="T41" fmla="*/ 274 h 290"/>
                <a:gd name="T42" fmla="*/ 294 w 406"/>
                <a:gd name="T43" fmla="*/ 248 h 290"/>
                <a:gd name="T44" fmla="*/ 324 w 406"/>
                <a:gd name="T45" fmla="*/ 252 h 290"/>
                <a:gd name="T46" fmla="*/ 350 w 406"/>
                <a:gd name="T47" fmla="*/ 256 h 290"/>
                <a:gd name="T48" fmla="*/ 364 w 406"/>
                <a:gd name="T49" fmla="*/ 244 h 290"/>
                <a:gd name="T50" fmla="*/ 366 w 406"/>
                <a:gd name="T51" fmla="*/ 202 h 290"/>
                <a:gd name="T52" fmla="*/ 380 w 406"/>
                <a:gd name="T53" fmla="*/ 190 h 290"/>
                <a:gd name="T54" fmla="*/ 392 w 406"/>
                <a:gd name="T55" fmla="*/ 190 h 290"/>
                <a:gd name="T56" fmla="*/ 396 w 406"/>
                <a:gd name="T57" fmla="*/ 178 h 290"/>
                <a:gd name="T58" fmla="*/ 406 w 406"/>
                <a:gd name="T59" fmla="*/ 168 h 290"/>
                <a:gd name="T60" fmla="*/ 384 w 406"/>
                <a:gd name="T61" fmla="*/ 162 h 290"/>
                <a:gd name="T62" fmla="*/ 360 w 406"/>
                <a:gd name="T63" fmla="*/ 168 h 290"/>
                <a:gd name="T64" fmla="*/ 336 w 406"/>
                <a:gd name="T65" fmla="*/ 162 h 290"/>
                <a:gd name="T66" fmla="*/ 332 w 406"/>
                <a:gd name="T67" fmla="*/ 144 h 290"/>
                <a:gd name="T68" fmla="*/ 324 w 406"/>
                <a:gd name="T69" fmla="*/ 124 h 290"/>
                <a:gd name="T70" fmla="*/ 320 w 406"/>
                <a:gd name="T71" fmla="*/ 106 h 290"/>
                <a:gd name="T72" fmla="*/ 322 w 406"/>
                <a:gd name="T73" fmla="*/ 88 h 290"/>
                <a:gd name="T74" fmla="*/ 304 w 406"/>
                <a:gd name="T75" fmla="*/ 62 h 290"/>
                <a:gd name="T76" fmla="*/ 298 w 406"/>
                <a:gd name="T77" fmla="*/ 44 h 290"/>
                <a:gd name="T78" fmla="*/ 280 w 406"/>
                <a:gd name="T79" fmla="*/ 28 h 290"/>
                <a:gd name="T80" fmla="*/ 268 w 406"/>
                <a:gd name="T81" fmla="*/ 6 h 290"/>
                <a:gd name="T82" fmla="*/ 256 w 406"/>
                <a:gd name="T83" fmla="*/ 0 h 290"/>
                <a:gd name="T84" fmla="*/ 242 w 406"/>
                <a:gd name="T85" fmla="*/ 8 h 290"/>
                <a:gd name="T86" fmla="*/ 226 w 406"/>
                <a:gd name="T87" fmla="*/ 10 h 290"/>
                <a:gd name="T88" fmla="*/ 212 w 406"/>
                <a:gd name="T89" fmla="*/ 18 h 290"/>
                <a:gd name="T90" fmla="*/ 190 w 406"/>
                <a:gd name="T91" fmla="*/ 20 h 290"/>
                <a:gd name="T92" fmla="*/ 174 w 406"/>
                <a:gd name="T93" fmla="*/ 8 h 290"/>
                <a:gd name="T94" fmla="*/ 150 w 406"/>
                <a:gd name="T95" fmla="*/ 16 h 290"/>
                <a:gd name="T96" fmla="*/ 132 w 406"/>
                <a:gd name="T97" fmla="*/ 16 h 290"/>
                <a:gd name="T98" fmla="*/ 110 w 406"/>
                <a:gd name="T99" fmla="*/ 14 h 290"/>
                <a:gd name="T100" fmla="*/ 100 w 406"/>
                <a:gd name="T101" fmla="*/ 20 h 290"/>
                <a:gd name="T102" fmla="*/ 94 w 406"/>
                <a:gd name="T103" fmla="*/ 2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6" h="290">
                  <a:moveTo>
                    <a:pt x="98" y="24"/>
                  </a:moveTo>
                  <a:lnTo>
                    <a:pt x="90" y="32"/>
                  </a:lnTo>
                  <a:lnTo>
                    <a:pt x="84" y="38"/>
                  </a:lnTo>
                  <a:lnTo>
                    <a:pt x="76" y="40"/>
                  </a:lnTo>
                  <a:lnTo>
                    <a:pt x="70" y="86"/>
                  </a:lnTo>
                  <a:lnTo>
                    <a:pt x="70" y="94"/>
                  </a:lnTo>
                  <a:lnTo>
                    <a:pt x="58" y="110"/>
                  </a:lnTo>
                  <a:lnTo>
                    <a:pt x="46" y="122"/>
                  </a:lnTo>
                  <a:lnTo>
                    <a:pt x="36" y="130"/>
                  </a:lnTo>
                  <a:lnTo>
                    <a:pt x="14" y="136"/>
                  </a:lnTo>
                  <a:lnTo>
                    <a:pt x="2" y="146"/>
                  </a:lnTo>
                  <a:lnTo>
                    <a:pt x="0" y="154"/>
                  </a:lnTo>
                  <a:lnTo>
                    <a:pt x="8" y="160"/>
                  </a:lnTo>
                  <a:lnTo>
                    <a:pt x="12" y="170"/>
                  </a:lnTo>
                  <a:lnTo>
                    <a:pt x="12" y="176"/>
                  </a:lnTo>
                  <a:lnTo>
                    <a:pt x="12" y="186"/>
                  </a:lnTo>
                  <a:lnTo>
                    <a:pt x="20" y="190"/>
                  </a:lnTo>
                  <a:lnTo>
                    <a:pt x="30" y="190"/>
                  </a:lnTo>
                  <a:lnTo>
                    <a:pt x="34" y="196"/>
                  </a:lnTo>
                  <a:lnTo>
                    <a:pt x="38" y="212"/>
                  </a:lnTo>
                  <a:lnTo>
                    <a:pt x="40" y="224"/>
                  </a:lnTo>
                  <a:lnTo>
                    <a:pt x="44" y="234"/>
                  </a:lnTo>
                  <a:lnTo>
                    <a:pt x="50" y="236"/>
                  </a:lnTo>
                  <a:lnTo>
                    <a:pt x="56" y="234"/>
                  </a:lnTo>
                  <a:lnTo>
                    <a:pt x="66" y="226"/>
                  </a:lnTo>
                  <a:lnTo>
                    <a:pt x="76" y="234"/>
                  </a:lnTo>
                  <a:lnTo>
                    <a:pt x="76" y="242"/>
                  </a:lnTo>
                  <a:lnTo>
                    <a:pt x="76" y="246"/>
                  </a:lnTo>
                  <a:lnTo>
                    <a:pt x="82" y="248"/>
                  </a:lnTo>
                  <a:lnTo>
                    <a:pt x="90" y="258"/>
                  </a:lnTo>
                  <a:lnTo>
                    <a:pt x="88" y="266"/>
                  </a:lnTo>
                  <a:lnTo>
                    <a:pt x="90" y="272"/>
                  </a:lnTo>
                  <a:lnTo>
                    <a:pt x="102" y="272"/>
                  </a:lnTo>
                  <a:lnTo>
                    <a:pt x="118" y="278"/>
                  </a:lnTo>
                  <a:lnTo>
                    <a:pt x="146" y="290"/>
                  </a:lnTo>
                  <a:lnTo>
                    <a:pt x="156" y="290"/>
                  </a:lnTo>
                  <a:lnTo>
                    <a:pt x="174" y="286"/>
                  </a:lnTo>
                  <a:lnTo>
                    <a:pt x="186" y="282"/>
                  </a:lnTo>
                  <a:lnTo>
                    <a:pt x="208" y="284"/>
                  </a:lnTo>
                  <a:lnTo>
                    <a:pt x="220" y="284"/>
                  </a:lnTo>
                  <a:lnTo>
                    <a:pt x="224" y="282"/>
                  </a:lnTo>
                  <a:lnTo>
                    <a:pt x="238" y="274"/>
                  </a:lnTo>
                  <a:lnTo>
                    <a:pt x="270" y="256"/>
                  </a:lnTo>
                  <a:lnTo>
                    <a:pt x="294" y="248"/>
                  </a:lnTo>
                  <a:lnTo>
                    <a:pt x="306" y="248"/>
                  </a:lnTo>
                  <a:lnTo>
                    <a:pt x="324" y="252"/>
                  </a:lnTo>
                  <a:lnTo>
                    <a:pt x="340" y="254"/>
                  </a:lnTo>
                  <a:lnTo>
                    <a:pt x="350" y="256"/>
                  </a:lnTo>
                  <a:lnTo>
                    <a:pt x="362" y="254"/>
                  </a:lnTo>
                  <a:lnTo>
                    <a:pt x="364" y="244"/>
                  </a:lnTo>
                  <a:lnTo>
                    <a:pt x="364" y="224"/>
                  </a:lnTo>
                  <a:lnTo>
                    <a:pt x="366" y="202"/>
                  </a:lnTo>
                  <a:lnTo>
                    <a:pt x="372" y="192"/>
                  </a:lnTo>
                  <a:lnTo>
                    <a:pt x="380" y="190"/>
                  </a:lnTo>
                  <a:lnTo>
                    <a:pt x="386" y="194"/>
                  </a:lnTo>
                  <a:lnTo>
                    <a:pt x="392" y="190"/>
                  </a:lnTo>
                  <a:lnTo>
                    <a:pt x="396" y="184"/>
                  </a:lnTo>
                  <a:lnTo>
                    <a:pt x="396" y="178"/>
                  </a:lnTo>
                  <a:lnTo>
                    <a:pt x="404" y="176"/>
                  </a:lnTo>
                  <a:lnTo>
                    <a:pt x="406" y="168"/>
                  </a:lnTo>
                  <a:lnTo>
                    <a:pt x="396" y="166"/>
                  </a:lnTo>
                  <a:lnTo>
                    <a:pt x="384" y="162"/>
                  </a:lnTo>
                  <a:lnTo>
                    <a:pt x="374" y="166"/>
                  </a:lnTo>
                  <a:lnTo>
                    <a:pt x="360" y="168"/>
                  </a:lnTo>
                  <a:lnTo>
                    <a:pt x="346" y="168"/>
                  </a:lnTo>
                  <a:lnTo>
                    <a:pt x="336" y="162"/>
                  </a:lnTo>
                  <a:lnTo>
                    <a:pt x="332" y="154"/>
                  </a:lnTo>
                  <a:lnTo>
                    <a:pt x="332" y="144"/>
                  </a:lnTo>
                  <a:lnTo>
                    <a:pt x="332" y="132"/>
                  </a:lnTo>
                  <a:lnTo>
                    <a:pt x="324" y="124"/>
                  </a:lnTo>
                  <a:lnTo>
                    <a:pt x="320" y="116"/>
                  </a:lnTo>
                  <a:lnTo>
                    <a:pt x="320" y="106"/>
                  </a:lnTo>
                  <a:lnTo>
                    <a:pt x="322" y="96"/>
                  </a:lnTo>
                  <a:lnTo>
                    <a:pt x="322" y="88"/>
                  </a:lnTo>
                  <a:lnTo>
                    <a:pt x="316" y="72"/>
                  </a:lnTo>
                  <a:lnTo>
                    <a:pt x="304" y="62"/>
                  </a:lnTo>
                  <a:lnTo>
                    <a:pt x="300" y="52"/>
                  </a:lnTo>
                  <a:lnTo>
                    <a:pt x="298" y="44"/>
                  </a:lnTo>
                  <a:lnTo>
                    <a:pt x="296" y="40"/>
                  </a:lnTo>
                  <a:lnTo>
                    <a:pt x="280" y="28"/>
                  </a:lnTo>
                  <a:lnTo>
                    <a:pt x="276" y="20"/>
                  </a:lnTo>
                  <a:lnTo>
                    <a:pt x="268" y="6"/>
                  </a:lnTo>
                  <a:lnTo>
                    <a:pt x="262" y="0"/>
                  </a:lnTo>
                  <a:lnTo>
                    <a:pt x="256" y="0"/>
                  </a:lnTo>
                  <a:lnTo>
                    <a:pt x="250" y="2"/>
                  </a:lnTo>
                  <a:lnTo>
                    <a:pt x="242" y="8"/>
                  </a:lnTo>
                  <a:lnTo>
                    <a:pt x="238" y="10"/>
                  </a:lnTo>
                  <a:lnTo>
                    <a:pt x="226" y="10"/>
                  </a:lnTo>
                  <a:lnTo>
                    <a:pt x="218" y="12"/>
                  </a:lnTo>
                  <a:lnTo>
                    <a:pt x="212" y="18"/>
                  </a:lnTo>
                  <a:lnTo>
                    <a:pt x="202" y="22"/>
                  </a:lnTo>
                  <a:lnTo>
                    <a:pt x="190" y="20"/>
                  </a:lnTo>
                  <a:lnTo>
                    <a:pt x="184" y="16"/>
                  </a:lnTo>
                  <a:lnTo>
                    <a:pt x="174" y="8"/>
                  </a:lnTo>
                  <a:lnTo>
                    <a:pt x="162" y="12"/>
                  </a:lnTo>
                  <a:lnTo>
                    <a:pt x="150" y="16"/>
                  </a:lnTo>
                  <a:lnTo>
                    <a:pt x="140" y="18"/>
                  </a:lnTo>
                  <a:lnTo>
                    <a:pt x="132" y="16"/>
                  </a:lnTo>
                  <a:lnTo>
                    <a:pt x="122" y="10"/>
                  </a:lnTo>
                  <a:lnTo>
                    <a:pt x="110" y="14"/>
                  </a:lnTo>
                  <a:lnTo>
                    <a:pt x="102" y="18"/>
                  </a:lnTo>
                  <a:lnTo>
                    <a:pt x="100" y="20"/>
                  </a:lnTo>
                  <a:lnTo>
                    <a:pt x="98" y="20"/>
                  </a:lnTo>
                  <a:lnTo>
                    <a:pt x="94" y="22"/>
                  </a:lnTo>
                  <a:lnTo>
                    <a:pt x="98" y="2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42" name="Freeform 36"/>
            <p:cNvSpPr>
              <a:spLocks/>
            </p:cNvSpPr>
            <p:nvPr/>
          </p:nvSpPr>
          <p:spPr bwMode="auto">
            <a:xfrm>
              <a:off x="2170250" y="2518679"/>
              <a:ext cx="279403" cy="210717"/>
            </a:xfrm>
            <a:custGeom>
              <a:avLst/>
              <a:gdLst>
                <a:gd name="T0" fmla="*/ 90 w 406"/>
                <a:gd name="T1" fmla="*/ 32 h 290"/>
                <a:gd name="T2" fmla="*/ 76 w 406"/>
                <a:gd name="T3" fmla="*/ 40 h 290"/>
                <a:gd name="T4" fmla="*/ 70 w 406"/>
                <a:gd name="T5" fmla="*/ 94 h 290"/>
                <a:gd name="T6" fmla="*/ 46 w 406"/>
                <a:gd name="T7" fmla="*/ 122 h 290"/>
                <a:gd name="T8" fmla="*/ 14 w 406"/>
                <a:gd name="T9" fmla="*/ 136 h 290"/>
                <a:gd name="T10" fmla="*/ 0 w 406"/>
                <a:gd name="T11" fmla="*/ 154 h 290"/>
                <a:gd name="T12" fmla="*/ 12 w 406"/>
                <a:gd name="T13" fmla="*/ 170 h 290"/>
                <a:gd name="T14" fmla="*/ 12 w 406"/>
                <a:gd name="T15" fmla="*/ 186 h 290"/>
                <a:gd name="T16" fmla="*/ 30 w 406"/>
                <a:gd name="T17" fmla="*/ 190 h 290"/>
                <a:gd name="T18" fmla="*/ 38 w 406"/>
                <a:gd name="T19" fmla="*/ 212 h 290"/>
                <a:gd name="T20" fmla="*/ 44 w 406"/>
                <a:gd name="T21" fmla="*/ 234 h 290"/>
                <a:gd name="T22" fmla="*/ 56 w 406"/>
                <a:gd name="T23" fmla="*/ 234 h 290"/>
                <a:gd name="T24" fmla="*/ 76 w 406"/>
                <a:gd name="T25" fmla="*/ 234 h 290"/>
                <a:gd name="T26" fmla="*/ 76 w 406"/>
                <a:gd name="T27" fmla="*/ 246 h 290"/>
                <a:gd name="T28" fmla="*/ 90 w 406"/>
                <a:gd name="T29" fmla="*/ 258 h 290"/>
                <a:gd name="T30" fmla="*/ 90 w 406"/>
                <a:gd name="T31" fmla="*/ 272 h 290"/>
                <a:gd name="T32" fmla="*/ 118 w 406"/>
                <a:gd name="T33" fmla="*/ 278 h 290"/>
                <a:gd name="T34" fmla="*/ 156 w 406"/>
                <a:gd name="T35" fmla="*/ 290 h 290"/>
                <a:gd name="T36" fmla="*/ 186 w 406"/>
                <a:gd name="T37" fmla="*/ 282 h 290"/>
                <a:gd name="T38" fmla="*/ 220 w 406"/>
                <a:gd name="T39" fmla="*/ 284 h 290"/>
                <a:gd name="T40" fmla="*/ 238 w 406"/>
                <a:gd name="T41" fmla="*/ 274 h 290"/>
                <a:gd name="T42" fmla="*/ 294 w 406"/>
                <a:gd name="T43" fmla="*/ 248 h 290"/>
                <a:gd name="T44" fmla="*/ 324 w 406"/>
                <a:gd name="T45" fmla="*/ 252 h 290"/>
                <a:gd name="T46" fmla="*/ 350 w 406"/>
                <a:gd name="T47" fmla="*/ 256 h 290"/>
                <a:gd name="T48" fmla="*/ 364 w 406"/>
                <a:gd name="T49" fmla="*/ 244 h 290"/>
                <a:gd name="T50" fmla="*/ 366 w 406"/>
                <a:gd name="T51" fmla="*/ 202 h 290"/>
                <a:gd name="T52" fmla="*/ 380 w 406"/>
                <a:gd name="T53" fmla="*/ 190 h 290"/>
                <a:gd name="T54" fmla="*/ 392 w 406"/>
                <a:gd name="T55" fmla="*/ 190 h 290"/>
                <a:gd name="T56" fmla="*/ 396 w 406"/>
                <a:gd name="T57" fmla="*/ 178 h 290"/>
                <a:gd name="T58" fmla="*/ 406 w 406"/>
                <a:gd name="T59" fmla="*/ 168 h 290"/>
                <a:gd name="T60" fmla="*/ 384 w 406"/>
                <a:gd name="T61" fmla="*/ 162 h 290"/>
                <a:gd name="T62" fmla="*/ 360 w 406"/>
                <a:gd name="T63" fmla="*/ 168 h 290"/>
                <a:gd name="T64" fmla="*/ 336 w 406"/>
                <a:gd name="T65" fmla="*/ 162 h 290"/>
                <a:gd name="T66" fmla="*/ 332 w 406"/>
                <a:gd name="T67" fmla="*/ 144 h 290"/>
                <a:gd name="T68" fmla="*/ 324 w 406"/>
                <a:gd name="T69" fmla="*/ 124 h 290"/>
                <a:gd name="T70" fmla="*/ 320 w 406"/>
                <a:gd name="T71" fmla="*/ 106 h 290"/>
                <a:gd name="T72" fmla="*/ 322 w 406"/>
                <a:gd name="T73" fmla="*/ 88 h 290"/>
                <a:gd name="T74" fmla="*/ 304 w 406"/>
                <a:gd name="T75" fmla="*/ 62 h 290"/>
                <a:gd name="T76" fmla="*/ 298 w 406"/>
                <a:gd name="T77" fmla="*/ 44 h 290"/>
                <a:gd name="T78" fmla="*/ 280 w 406"/>
                <a:gd name="T79" fmla="*/ 28 h 290"/>
                <a:gd name="T80" fmla="*/ 268 w 406"/>
                <a:gd name="T81" fmla="*/ 6 h 290"/>
                <a:gd name="T82" fmla="*/ 256 w 406"/>
                <a:gd name="T83" fmla="*/ 0 h 290"/>
                <a:gd name="T84" fmla="*/ 242 w 406"/>
                <a:gd name="T85" fmla="*/ 8 h 290"/>
                <a:gd name="T86" fmla="*/ 226 w 406"/>
                <a:gd name="T87" fmla="*/ 10 h 290"/>
                <a:gd name="T88" fmla="*/ 212 w 406"/>
                <a:gd name="T89" fmla="*/ 18 h 290"/>
                <a:gd name="T90" fmla="*/ 190 w 406"/>
                <a:gd name="T91" fmla="*/ 20 h 290"/>
                <a:gd name="T92" fmla="*/ 174 w 406"/>
                <a:gd name="T93" fmla="*/ 8 h 290"/>
                <a:gd name="T94" fmla="*/ 150 w 406"/>
                <a:gd name="T95" fmla="*/ 16 h 290"/>
                <a:gd name="T96" fmla="*/ 132 w 406"/>
                <a:gd name="T97" fmla="*/ 16 h 290"/>
                <a:gd name="T98" fmla="*/ 110 w 406"/>
                <a:gd name="T99" fmla="*/ 14 h 290"/>
                <a:gd name="T100" fmla="*/ 100 w 406"/>
                <a:gd name="T101" fmla="*/ 20 h 290"/>
                <a:gd name="T102" fmla="*/ 94 w 406"/>
                <a:gd name="T103" fmla="*/ 2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6" h="290">
                  <a:moveTo>
                    <a:pt x="98" y="24"/>
                  </a:moveTo>
                  <a:lnTo>
                    <a:pt x="90" y="32"/>
                  </a:lnTo>
                  <a:lnTo>
                    <a:pt x="84" y="38"/>
                  </a:lnTo>
                  <a:lnTo>
                    <a:pt x="76" y="40"/>
                  </a:lnTo>
                  <a:lnTo>
                    <a:pt x="70" y="86"/>
                  </a:lnTo>
                  <a:lnTo>
                    <a:pt x="70" y="94"/>
                  </a:lnTo>
                  <a:lnTo>
                    <a:pt x="58" y="110"/>
                  </a:lnTo>
                  <a:lnTo>
                    <a:pt x="46" y="122"/>
                  </a:lnTo>
                  <a:lnTo>
                    <a:pt x="36" y="130"/>
                  </a:lnTo>
                  <a:lnTo>
                    <a:pt x="14" y="136"/>
                  </a:lnTo>
                  <a:lnTo>
                    <a:pt x="2" y="146"/>
                  </a:lnTo>
                  <a:lnTo>
                    <a:pt x="0" y="154"/>
                  </a:lnTo>
                  <a:lnTo>
                    <a:pt x="8" y="160"/>
                  </a:lnTo>
                  <a:lnTo>
                    <a:pt x="12" y="170"/>
                  </a:lnTo>
                  <a:lnTo>
                    <a:pt x="12" y="176"/>
                  </a:lnTo>
                  <a:lnTo>
                    <a:pt x="12" y="186"/>
                  </a:lnTo>
                  <a:lnTo>
                    <a:pt x="20" y="190"/>
                  </a:lnTo>
                  <a:lnTo>
                    <a:pt x="30" y="190"/>
                  </a:lnTo>
                  <a:lnTo>
                    <a:pt x="34" y="196"/>
                  </a:lnTo>
                  <a:lnTo>
                    <a:pt x="38" y="212"/>
                  </a:lnTo>
                  <a:lnTo>
                    <a:pt x="40" y="224"/>
                  </a:lnTo>
                  <a:lnTo>
                    <a:pt x="44" y="234"/>
                  </a:lnTo>
                  <a:lnTo>
                    <a:pt x="50" y="236"/>
                  </a:lnTo>
                  <a:lnTo>
                    <a:pt x="56" y="234"/>
                  </a:lnTo>
                  <a:lnTo>
                    <a:pt x="66" y="226"/>
                  </a:lnTo>
                  <a:lnTo>
                    <a:pt x="76" y="234"/>
                  </a:lnTo>
                  <a:lnTo>
                    <a:pt x="76" y="242"/>
                  </a:lnTo>
                  <a:lnTo>
                    <a:pt x="76" y="246"/>
                  </a:lnTo>
                  <a:lnTo>
                    <a:pt x="82" y="248"/>
                  </a:lnTo>
                  <a:lnTo>
                    <a:pt x="90" y="258"/>
                  </a:lnTo>
                  <a:lnTo>
                    <a:pt x="88" y="266"/>
                  </a:lnTo>
                  <a:lnTo>
                    <a:pt x="90" y="272"/>
                  </a:lnTo>
                  <a:lnTo>
                    <a:pt x="102" y="272"/>
                  </a:lnTo>
                  <a:lnTo>
                    <a:pt x="118" y="278"/>
                  </a:lnTo>
                  <a:lnTo>
                    <a:pt x="146" y="290"/>
                  </a:lnTo>
                  <a:lnTo>
                    <a:pt x="156" y="290"/>
                  </a:lnTo>
                  <a:lnTo>
                    <a:pt x="174" y="286"/>
                  </a:lnTo>
                  <a:lnTo>
                    <a:pt x="186" y="282"/>
                  </a:lnTo>
                  <a:lnTo>
                    <a:pt x="208" y="284"/>
                  </a:lnTo>
                  <a:lnTo>
                    <a:pt x="220" y="284"/>
                  </a:lnTo>
                  <a:lnTo>
                    <a:pt x="224" y="282"/>
                  </a:lnTo>
                  <a:lnTo>
                    <a:pt x="238" y="274"/>
                  </a:lnTo>
                  <a:lnTo>
                    <a:pt x="270" y="256"/>
                  </a:lnTo>
                  <a:lnTo>
                    <a:pt x="294" y="248"/>
                  </a:lnTo>
                  <a:lnTo>
                    <a:pt x="306" y="248"/>
                  </a:lnTo>
                  <a:lnTo>
                    <a:pt x="324" y="252"/>
                  </a:lnTo>
                  <a:lnTo>
                    <a:pt x="340" y="254"/>
                  </a:lnTo>
                  <a:lnTo>
                    <a:pt x="350" y="256"/>
                  </a:lnTo>
                  <a:lnTo>
                    <a:pt x="362" y="254"/>
                  </a:lnTo>
                  <a:lnTo>
                    <a:pt x="364" y="244"/>
                  </a:lnTo>
                  <a:lnTo>
                    <a:pt x="364" y="224"/>
                  </a:lnTo>
                  <a:lnTo>
                    <a:pt x="366" y="202"/>
                  </a:lnTo>
                  <a:lnTo>
                    <a:pt x="372" y="192"/>
                  </a:lnTo>
                  <a:lnTo>
                    <a:pt x="380" y="190"/>
                  </a:lnTo>
                  <a:lnTo>
                    <a:pt x="386" y="194"/>
                  </a:lnTo>
                  <a:lnTo>
                    <a:pt x="392" y="190"/>
                  </a:lnTo>
                  <a:lnTo>
                    <a:pt x="396" y="184"/>
                  </a:lnTo>
                  <a:lnTo>
                    <a:pt x="396" y="178"/>
                  </a:lnTo>
                  <a:lnTo>
                    <a:pt x="404" y="176"/>
                  </a:lnTo>
                  <a:lnTo>
                    <a:pt x="406" y="168"/>
                  </a:lnTo>
                  <a:lnTo>
                    <a:pt x="396" y="166"/>
                  </a:lnTo>
                  <a:lnTo>
                    <a:pt x="384" y="162"/>
                  </a:lnTo>
                  <a:lnTo>
                    <a:pt x="374" y="166"/>
                  </a:lnTo>
                  <a:lnTo>
                    <a:pt x="360" y="168"/>
                  </a:lnTo>
                  <a:lnTo>
                    <a:pt x="346" y="168"/>
                  </a:lnTo>
                  <a:lnTo>
                    <a:pt x="336" y="162"/>
                  </a:lnTo>
                  <a:lnTo>
                    <a:pt x="332" y="154"/>
                  </a:lnTo>
                  <a:lnTo>
                    <a:pt x="332" y="144"/>
                  </a:lnTo>
                  <a:lnTo>
                    <a:pt x="332" y="132"/>
                  </a:lnTo>
                  <a:lnTo>
                    <a:pt x="324" y="124"/>
                  </a:lnTo>
                  <a:lnTo>
                    <a:pt x="320" y="116"/>
                  </a:lnTo>
                  <a:lnTo>
                    <a:pt x="320" y="106"/>
                  </a:lnTo>
                  <a:lnTo>
                    <a:pt x="322" y="96"/>
                  </a:lnTo>
                  <a:lnTo>
                    <a:pt x="322" y="88"/>
                  </a:lnTo>
                  <a:lnTo>
                    <a:pt x="316" y="72"/>
                  </a:lnTo>
                  <a:lnTo>
                    <a:pt x="304" y="62"/>
                  </a:lnTo>
                  <a:lnTo>
                    <a:pt x="300" y="52"/>
                  </a:lnTo>
                  <a:lnTo>
                    <a:pt x="298" y="44"/>
                  </a:lnTo>
                  <a:lnTo>
                    <a:pt x="296" y="40"/>
                  </a:lnTo>
                  <a:lnTo>
                    <a:pt x="280" y="28"/>
                  </a:lnTo>
                  <a:lnTo>
                    <a:pt x="276" y="20"/>
                  </a:lnTo>
                  <a:lnTo>
                    <a:pt x="268" y="6"/>
                  </a:lnTo>
                  <a:lnTo>
                    <a:pt x="262" y="0"/>
                  </a:lnTo>
                  <a:lnTo>
                    <a:pt x="256" y="0"/>
                  </a:lnTo>
                  <a:lnTo>
                    <a:pt x="250" y="2"/>
                  </a:lnTo>
                  <a:lnTo>
                    <a:pt x="242" y="8"/>
                  </a:lnTo>
                  <a:lnTo>
                    <a:pt x="238" y="10"/>
                  </a:lnTo>
                  <a:lnTo>
                    <a:pt x="226" y="10"/>
                  </a:lnTo>
                  <a:lnTo>
                    <a:pt x="218" y="12"/>
                  </a:lnTo>
                  <a:lnTo>
                    <a:pt x="212" y="18"/>
                  </a:lnTo>
                  <a:lnTo>
                    <a:pt x="202" y="22"/>
                  </a:lnTo>
                  <a:lnTo>
                    <a:pt x="190" y="20"/>
                  </a:lnTo>
                  <a:lnTo>
                    <a:pt x="184" y="16"/>
                  </a:lnTo>
                  <a:lnTo>
                    <a:pt x="174" y="8"/>
                  </a:lnTo>
                  <a:lnTo>
                    <a:pt x="162" y="12"/>
                  </a:lnTo>
                  <a:lnTo>
                    <a:pt x="150" y="16"/>
                  </a:lnTo>
                  <a:lnTo>
                    <a:pt x="140" y="18"/>
                  </a:lnTo>
                  <a:lnTo>
                    <a:pt x="132" y="16"/>
                  </a:lnTo>
                  <a:lnTo>
                    <a:pt x="122" y="10"/>
                  </a:lnTo>
                  <a:lnTo>
                    <a:pt x="110" y="14"/>
                  </a:lnTo>
                  <a:lnTo>
                    <a:pt x="102" y="18"/>
                  </a:lnTo>
                  <a:lnTo>
                    <a:pt x="100" y="20"/>
                  </a:lnTo>
                  <a:lnTo>
                    <a:pt x="98" y="20"/>
                  </a:lnTo>
                  <a:lnTo>
                    <a:pt x="94" y="22"/>
                  </a:lnTo>
                  <a:lnTo>
                    <a:pt x="98" y="2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43" name="Freeform 37"/>
            <p:cNvSpPr>
              <a:spLocks/>
            </p:cNvSpPr>
            <p:nvPr/>
          </p:nvSpPr>
          <p:spPr bwMode="auto">
            <a:xfrm>
              <a:off x="1649982" y="2318134"/>
              <a:ext cx="107357" cy="95913"/>
            </a:xfrm>
            <a:custGeom>
              <a:avLst/>
              <a:gdLst>
                <a:gd name="T0" fmla="*/ 0 w 156"/>
                <a:gd name="T1" fmla="*/ 24 h 132"/>
                <a:gd name="T2" fmla="*/ 2 w 156"/>
                <a:gd name="T3" fmla="*/ 18 h 132"/>
                <a:gd name="T4" fmla="*/ 2 w 156"/>
                <a:gd name="T5" fmla="*/ 12 h 132"/>
                <a:gd name="T6" fmla="*/ 26 w 156"/>
                <a:gd name="T7" fmla="*/ 0 h 132"/>
                <a:gd name="T8" fmla="*/ 28 w 156"/>
                <a:gd name="T9" fmla="*/ 4 h 132"/>
                <a:gd name="T10" fmla="*/ 44 w 156"/>
                <a:gd name="T11" fmla="*/ 0 h 132"/>
                <a:gd name="T12" fmla="*/ 58 w 156"/>
                <a:gd name="T13" fmla="*/ 2 h 132"/>
                <a:gd name="T14" fmla="*/ 52 w 156"/>
                <a:gd name="T15" fmla="*/ 8 h 132"/>
                <a:gd name="T16" fmla="*/ 56 w 156"/>
                <a:gd name="T17" fmla="*/ 16 h 132"/>
                <a:gd name="T18" fmla="*/ 66 w 156"/>
                <a:gd name="T19" fmla="*/ 20 h 132"/>
                <a:gd name="T20" fmla="*/ 78 w 156"/>
                <a:gd name="T21" fmla="*/ 20 h 132"/>
                <a:gd name="T22" fmla="*/ 86 w 156"/>
                <a:gd name="T23" fmla="*/ 12 h 132"/>
                <a:gd name="T24" fmla="*/ 102 w 156"/>
                <a:gd name="T25" fmla="*/ 12 h 132"/>
                <a:gd name="T26" fmla="*/ 106 w 156"/>
                <a:gd name="T27" fmla="*/ 18 h 132"/>
                <a:gd name="T28" fmla="*/ 114 w 156"/>
                <a:gd name="T29" fmla="*/ 22 h 132"/>
                <a:gd name="T30" fmla="*/ 128 w 156"/>
                <a:gd name="T31" fmla="*/ 24 h 132"/>
                <a:gd name="T32" fmla="*/ 126 w 156"/>
                <a:gd name="T33" fmla="*/ 34 h 132"/>
                <a:gd name="T34" fmla="*/ 126 w 156"/>
                <a:gd name="T35" fmla="*/ 54 h 132"/>
                <a:gd name="T36" fmla="*/ 128 w 156"/>
                <a:gd name="T37" fmla="*/ 66 h 132"/>
                <a:gd name="T38" fmla="*/ 142 w 156"/>
                <a:gd name="T39" fmla="*/ 64 h 132"/>
                <a:gd name="T40" fmla="*/ 146 w 156"/>
                <a:gd name="T41" fmla="*/ 72 h 132"/>
                <a:gd name="T42" fmla="*/ 148 w 156"/>
                <a:gd name="T43" fmla="*/ 80 h 132"/>
                <a:gd name="T44" fmla="*/ 156 w 156"/>
                <a:gd name="T45" fmla="*/ 90 h 132"/>
                <a:gd name="T46" fmla="*/ 146 w 156"/>
                <a:gd name="T47" fmla="*/ 98 h 132"/>
                <a:gd name="T48" fmla="*/ 138 w 156"/>
                <a:gd name="T49" fmla="*/ 102 h 132"/>
                <a:gd name="T50" fmla="*/ 130 w 156"/>
                <a:gd name="T51" fmla="*/ 102 h 132"/>
                <a:gd name="T52" fmla="*/ 118 w 156"/>
                <a:gd name="T53" fmla="*/ 106 h 132"/>
                <a:gd name="T54" fmla="*/ 118 w 156"/>
                <a:gd name="T55" fmla="*/ 116 h 132"/>
                <a:gd name="T56" fmla="*/ 114 w 156"/>
                <a:gd name="T57" fmla="*/ 124 h 132"/>
                <a:gd name="T58" fmla="*/ 104 w 156"/>
                <a:gd name="T59" fmla="*/ 132 h 132"/>
                <a:gd name="T60" fmla="*/ 84 w 156"/>
                <a:gd name="T61" fmla="*/ 118 h 132"/>
                <a:gd name="T62" fmla="*/ 80 w 156"/>
                <a:gd name="T63" fmla="*/ 106 h 132"/>
                <a:gd name="T64" fmla="*/ 62 w 156"/>
                <a:gd name="T65" fmla="*/ 102 h 132"/>
                <a:gd name="T66" fmla="*/ 56 w 156"/>
                <a:gd name="T67" fmla="*/ 88 h 132"/>
                <a:gd name="T68" fmla="*/ 44 w 156"/>
                <a:gd name="T69" fmla="*/ 78 h 132"/>
                <a:gd name="T70" fmla="*/ 40 w 156"/>
                <a:gd name="T71" fmla="*/ 66 h 132"/>
                <a:gd name="T72" fmla="*/ 30 w 156"/>
                <a:gd name="T73" fmla="*/ 54 h 132"/>
                <a:gd name="T74" fmla="*/ 24 w 156"/>
                <a:gd name="T75" fmla="*/ 44 h 132"/>
                <a:gd name="T76" fmla="*/ 10 w 156"/>
                <a:gd name="T77" fmla="*/ 34 h 132"/>
                <a:gd name="T78" fmla="*/ 0 w 156"/>
                <a:gd name="T79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6" h="132">
                  <a:moveTo>
                    <a:pt x="0" y="24"/>
                  </a:moveTo>
                  <a:lnTo>
                    <a:pt x="2" y="18"/>
                  </a:lnTo>
                  <a:lnTo>
                    <a:pt x="2" y="12"/>
                  </a:lnTo>
                  <a:lnTo>
                    <a:pt x="26" y="0"/>
                  </a:lnTo>
                  <a:lnTo>
                    <a:pt x="28" y="4"/>
                  </a:lnTo>
                  <a:lnTo>
                    <a:pt x="44" y="0"/>
                  </a:lnTo>
                  <a:lnTo>
                    <a:pt x="58" y="2"/>
                  </a:lnTo>
                  <a:lnTo>
                    <a:pt x="52" y="8"/>
                  </a:lnTo>
                  <a:lnTo>
                    <a:pt x="56" y="16"/>
                  </a:lnTo>
                  <a:lnTo>
                    <a:pt x="66" y="20"/>
                  </a:lnTo>
                  <a:lnTo>
                    <a:pt x="78" y="20"/>
                  </a:lnTo>
                  <a:lnTo>
                    <a:pt x="86" y="12"/>
                  </a:lnTo>
                  <a:lnTo>
                    <a:pt x="102" y="12"/>
                  </a:lnTo>
                  <a:lnTo>
                    <a:pt x="106" y="18"/>
                  </a:lnTo>
                  <a:lnTo>
                    <a:pt x="114" y="22"/>
                  </a:lnTo>
                  <a:lnTo>
                    <a:pt x="128" y="24"/>
                  </a:lnTo>
                  <a:lnTo>
                    <a:pt x="126" y="34"/>
                  </a:lnTo>
                  <a:lnTo>
                    <a:pt x="126" y="54"/>
                  </a:lnTo>
                  <a:lnTo>
                    <a:pt x="128" y="66"/>
                  </a:lnTo>
                  <a:lnTo>
                    <a:pt x="142" y="64"/>
                  </a:lnTo>
                  <a:lnTo>
                    <a:pt x="146" y="72"/>
                  </a:lnTo>
                  <a:lnTo>
                    <a:pt x="148" y="80"/>
                  </a:lnTo>
                  <a:lnTo>
                    <a:pt x="156" y="90"/>
                  </a:lnTo>
                  <a:lnTo>
                    <a:pt x="146" y="98"/>
                  </a:lnTo>
                  <a:lnTo>
                    <a:pt x="138" y="102"/>
                  </a:lnTo>
                  <a:lnTo>
                    <a:pt x="130" y="102"/>
                  </a:lnTo>
                  <a:lnTo>
                    <a:pt x="118" y="106"/>
                  </a:lnTo>
                  <a:lnTo>
                    <a:pt x="118" y="116"/>
                  </a:lnTo>
                  <a:lnTo>
                    <a:pt x="114" y="124"/>
                  </a:lnTo>
                  <a:lnTo>
                    <a:pt x="104" y="132"/>
                  </a:lnTo>
                  <a:lnTo>
                    <a:pt x="84" y="118"/>
                  </a:lnTo>
                  <a:lnTo>
                    <a:pt x="80" y="106"/>
                  </a:lnTo>
                  <a:lnTo>
                    <a:pt x="62" y="102"/>
                  </a:lnTo>
                  <a:lnTo>
                    <a:pt x="56" y="88"/>
                  </a:lnTo>
                  <a:lnTo>
                    <a:pt x="44" y="78"/>
                  </a:lnTo>
                  <a:lnTo>
                    <a:pt x="40" y="66"/>
                  </a:lnTo>
                  <a:lnTo>
                    <a:pt x="30" y="54"/>
                  </a:lnTo>
                  <a:lnTo>
                    <a:pt x="24" y="44"/>
                  </a:lnTo>
                  <a:lnTo>
                    <a:pt x="10" y="3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44" name="Freeform 38"/>
            <p:cNvSpPr>
              <a:spLocks/>
            </p:cNvSpPr>
            <p:nvPr/>
          </p:nvSpPr>
          <p:spPr bwMode="auto">
            <a:xfrm>
              <a:off x="1649982" y="2318134"/>
              <a:ext cx="107357" cy="95913"/>
            </a:xfrm>
            <a:custGeom>
              <a:avLst/>
              <a:gdLst>
                <a:gd name="T0" fmla="*/ 0 w 156"/>
                <a:gd name="T1" fmla="*/ 24 h 132"/>
                <a:gd name="T2" fmla="*/ 2 w 156"/>
                <a:gd name="T3" fmla="*/ 18 h 132"/>
                <a:gd name="T4" fmla="*/ 2 w 156"/>
                <a:gd name="T5" fmla="*/ 12 h 132"/>
                <a:gd name="T6" fmla="*/ 26 w 156"/>
                <a:gd name="T7" fmla="*/ 0 h 132"/>
                <a:gd name="T8" fmla="*/ 28 w 156"/>
                <a:gd name="T9" fmla="*/ 4 h 132"/>
                <a:gd name="T10" fmla="*/ 44 w 156"/>
                <a:gd name="T11" fmla="*/ 0 h 132"/>
                <a:gd name="T12" fmla="*/ 58 w 156"/>
                <a:gd name="T13" fmla="*/ 2 h 132"/>
                <a:gd name="T14" fmla="*/ 52 w 156"/>
                <a:gd name="T15" fmla="*/ 8 h 132"/>
                <a:gd name="T16" fmla="*/ 56 w 156"/>
                <a:gd name="T17" fmla="*/ 16 h 132"/>
                <a:gd name="T18" fmla="*/ 66 w 156"/>
                <a:gd name="T19" fmla="*/ 20 h 132"/>
                <a:gd name="T20" fmla="*/ 78 w 156"/>
                <a:gd name="T21" fmla="*/ 20 h 132"/>
                <a:gd name="T22" fmla="*/ 86 w 156"/>
                <a:gd name="T23" fmla="*/ 12 h 132"/>
                <a:gd name="T24" fmla="*/ 102 w 156"/>
                <a:gd name="T25" fmla="*/ 12 h 132"/>
                <a:gd name="T26" fmla="*/ 106 w 156"/>
                <a:gd name="T27" fmla="*/ 18 h 132"/>
                <a:gd name="T28" fmla="*/ 114 w 156"/>
                <a:gd name="T29" fmla="*/ 22 h 132"/>
                <a:gd name="T30" fmla="*/ 128 w 156"/>
                <a:gd name="T31" fmla="*/ 24 h 132"/>
                <a:gd name="T32" fmla="*/ 126 w 156"/>
                <a:gd name="T33" fmla="*/ 34 h 132"/>
                <a:gd name="T34" fmla="*/ 126 w 156"/>
                <a:gd name="T35" fmla="*/ 54 h 132"/>
                <a:gd name="T36" fmla="*/ 128 w 156"/>
                <a:gd name="T37" fmla="*/ 66 h 132"/>
                <a:gd name="T38" fmla="*/ 142 w 156"/>
                <a:gd name="T39" fmla="*/ 64 h 132"/>
                <a:gd name="T40" fmla="*/ 146 w 156"/>
                <a:gd name="T41" fmla="*/ 72 h 132"/>
                <a:gd name="T42" fmla="*/ 148 w 156"/>
                <a:gd name="T43" fmla="*/ 80 h 132"/>
                <a:gd name="T44" fmla="*/ 156 w 156"/>
                <a:gd name="T45" fmla="*/ 90 h 132"/>
                <a:gd name="T46" fmla="*/ 146 w 156"/>
                <a:gd name="T47" fmla="*/ 98 h 132"/>
                <a:gd name="T48" fmla="*/ 138 w 156"/>
                <a:gd name="T49" fmla="*/ 102 h 132"/>
                <a:gd name="T50" fmla="*/ 130 w 156"/>
                <a:gd name="T51" fmla="*/ 102 h 132"/>
                <a:gd name="T52" fmla="*/ 118 w 156"/>
                <a:gd name="T53" fmla="*/ 106 h 132"/>
                <a:gd name="T54" fmla="*/ 118 w 156"/>
                <a:gd name="T55" fmla="*/ 116 h 132"/>
                <a:gd name="T56" fmla="*/ 114 w 156"/>
                <a:gd name="T57" fmla="*/ 124 h 132"/>
                <a:gd name="T58" fmla="*/ 104 w 156"/>
                <a:gd name="T59" fmla="*/ 132 h 132"/>
                <a:gd name="T60" fmla="*/ 84 w 156"/>
                <a:gd name="T61" fmla="*/ 118 h 132"/>
                <a:gd name="T62" fmla="*/ 80 w 156"/>
                <a:gd name="T63" fmla="*/ 106 h 132"/>
                <a:gd name="T64" fmla="*/ 62 w 156"/>
                <a:gd name="T65" fmla="*/ 102 h 132"/>
                <a:gd name="T66" fmla="*/ 56 w 156"/>
                <a:gd name="T67" fmla="*/ 88 h 132"/>
                <a:gd name="T68" fmla="*/ 44 w 156"/>
                <a:gd name="T69" fmla="*/ 78 h 132"/>
                <a:gd name="T70" fmla="*/ 40 w 156"/>
                <a:gd name="T71" fmla="*/ 66 h 132"/>
                <a:gd name="T72" fmla="*/ 30 w 156"/>
                <a:gd name="T73" fmla="*/ 54 h 132"/>
                <a:gd name="T74" fmla="*/ 24 w 156"/>
                <a:gd name="T75" fmla="*/ 44 h 132"/>
                <a:gd name="T76" fmla="*/ 10 w 156"/>
                <a:gd name="T77" fmla="*/ 34 h 132"/>
                <a:gd name="T78" fmla="*/ 0 w 156"/>
                <a:gd name="T79" fmla="*/ 2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6" h="132">
                  <a:moveTo>
                    <a:pt x="0" y="24"/>
                  </a:moveTo>
                  <a:lnTo>
                    <a:pt x="2" y="18"/>
                  </a:lnTo>
                  <a:lnTo>
                    <a:pt x="2" y="12"/>
                  </a:lnTo>
                  <a:lnTo>
                    <a:pt x="26" y="0"/>
                  </a:lnTo>
                  <a:lnTo>
                    <a:pt x="28" y="4"/>
                  </a:lnTo>
                  <a:lnTo>
                    <a:pt x="44" y="0"/>
                  </a:lnTo>
                  <a:lnTo>
                    <a:pt x="58" y="2"/>
                  </a:lnTo>
                  <a:lnTo>
                    <a:pt x="52" y="8"/>
                  </a:lnTo>
                  <a:lnTo>
                    <a:pt x="56" y="16"/>
                  </a:lnTo>
                  <a:lnTo>
                    <a:pt x="66" y="20"/>
                  </a:lnTo>
                  <a:lnTo>
                    <a:pt x="78" y="20"/>
                  </a:lnTo>
                  <a:lnTo>
                    <a:pt x="86" y="12"/>
                  </a:lnTo>
                  <a:lnTo>
                    <a:pt x="102" y="12"/>
                  </a:lnTo>
                  <a:lnTo>
                    <a:pt x="106" y="18"/>
                  </a:lnTo>
                  <a:lnTo>
                    <a:pt x="114" y="22"/>
                  </a:lnTo>
                  <a:lnTo>
                    <a:pt x="128" y="24"/>
                  </a:lnTo>
                  <a:lnTo>
                    <a:pt x="126" y="34"/>
                  </a:lnTo>
                  <a:lnTo>
                    <a:pt x="126" y="54"/>
                  </a:lnTo>
                  <a:lnTo>
                    <a:pt x="128" y="66"/>
                  </a:lnTo>
                  <a:lnTo>
                    <a:pt x="142" y="64"/>
                  </a:lnTo>
                  <a:lnTo>
                    <a:pt x="146" y="72"/>
                  </a:lnTo>
                  <a:lnTo>
                    <a:pt x="148" y="80"/>
                  </a:lnTo>
                  <a:lnTo>
                    <a:pt x="156" y="90"/>
                  </a:lnTo>
                  <a:lnTo>
                    <a:pt x="146" y="98"/>
                  </a:lnTo>
                  <a:lnTo>
                    <a:pt x="138" y="102"/>
                  </a:lnTo>
                  <a:lnTo>
                    <a:pt x="130" y="102"/>
                  </a:lnTo>
                  <a:lnTo>
                    <a:pt x="118" y="106"/>
                  </a:lnTo>
                  <a:lnTo>
                    <a:pt x="118" y="116"/>
                  </a:lnTo>
                  <a:lnTo>
                    <a:pt x="114" y="124"/>
                  </a:lnTo>
                  <a:lnTo>
                    <a:pt x="104" y="132"/>
                  </a:lnTo>
                  <a:lnTo>
                    <a:pt x="84" y="118"/>
                  </a:lnTo>
                  <a:lnTo>
                    <a:pt x="80" y="106"/>
                  </a:lnTo>
                  <a:lnTo>
                    <a:pt x="62" y="102"/>
                  </a:lnTo>
                  <a:lnTo>
                    <a:pt x="56" y="88"/>
                  </a:lnTo>
                  <a:lnTo>
                    <a:pt x="44" y="78"/>
                  </a:lnTo>
                  <a:lnTo>
                    <a:pt x="40" y="66"/>
                  </a:lnTo>
                  <a:lnTo>
                    <a:pt x="30" y="54"/>
                  </a:lnTo>
                  <a:lnTo>
                    <a:pt x="24" y="44"/>
                  </a:lnTo>
                  <a:lnTo>
                    <a:pt x="10" y="34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45" name="Freeform 39"/>
            <p:cNvSpPr>
              <a:spLocks/>
            </p:cNvSpPr>
            <p:nvPr/>
          </p:nvSpPr>
          <p:spPr bwMode="auto">
            <a:xfrm>
              <a:off x="1722930" y="2392249"/>
              <a:ext cx="28904" cy="37784"/>
            </a:xfrm>
            <a:custGeom>
              <a:avLst/>
              <a:gdLst>
                <a:gd name="T0" fmla="*/ 30 w 42"/>
                <a:gd name="T1" fmla="*/ 52 h 52"/>
                <a:gd name="T2" fmla="*/ 32 w 42"/>
                <a:gd name="T3" fmla="*/ 36 h 52"/>
                <a:gd name="T4" fmla="*/ 42 w 42"/>
                <a:gd name="T5" fmla="*/ 28 h 52"/>
                <a:gd name="T6" fmla="*/ 42 w 42"/>
                <a:gd name="T7" fmla="*/ 20 h 52"/>
                <a:gd name="T8" fmla="*/ 36 w 42"/>
                <a:gd name="T9" fmla="*/ 14 h 52"/>
                <a:gd name="T10" fmla="*/ 30 w 42"/>
                <a:gd name="T11" fmla="*/ 6 h 52"/>
                <a:gd name="T12" fmla="*/ 28 w 42"/>
                <a:gd name="T13" fmla="*/ 0 h 52"/>
                <a:gd name="T14" fmla="*/ 18 w 42"/>
                <a:gd name="T15" fmla="*/ 0 h 52"/>
                <a:gd name="T16" fmla="*/ 12 w 42"/>
                <a:gd name="T17" fmla="*/ 4 h 52"/>
                <a:gd name="T18" fmla="*/ 12 w 42"/>
                <a:gd name="T19" fmla="*/ 14 h 52"/>
                <a:gd name="T20" fmla="*/ 6 w 42"/>
                <a:gd name="T21" fmla="*/ 24 h 52"/>
                <a:gd name="T22" fmla="*/ 0 w 42"/>
                <a:gd name="T23" fmla="*/ 26 h 52"/>
                <a:gd name="T24" fmla="*/ 2 w 42"/>
                <a:gd name="T25" fmla="*/ 34 h 52"/>
                <a:gd name="T26" fmla="*/ 10 w 42"/>
                <a:gd name="T27" fmla="*/ 36 h 52"/>
                <a:gd name="T28" fmla="*/ 20 w 42"/>
                <a:gd name="T29" fmla="*/ 40 h 52"/>
                <a:gd name="T30" fmla="*/ 24 w 42"/>
                <a:gd name="T31" fmla="*/ 44 h 52"/>
                <a:gd name="T32" fmla="*/ 30 w 42"/>
                <a:gd name="T3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2">
                  <a:moveTo>
                    <a:pt x="30" y="52"/>
                  </a:moveTo>
                  <a:lnTo>
                    <a:pt x="32" y="36"/>
                  </a:lnTo>
                  <a:lnTo>
                    <a:pt x="42" y="28"/>
                  </a:lnTo>
                  <a:lnTo>
                    <a:pt x="42" y="20"/>
                  </a:lnTo>
                  <a:lnTo>
                    <a:pt x="36" y="14"/>
                  </a:lnTo>
                  <a:lnTo>
                    <a:pt x="30" y="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12" y="14"/>
                  </a:lnTo>
                  <a:lnTo>
                    <a:pt x="6" y="24"/>
                  </a:lnTo>
                  <a:lnTo>
                    <a:pt x="0" y="26"/>
                  </a:lnTo>
                  <a:lnTo>
                    <a:pt x="2" y="34"/>
                  </a:lnTo>
                  <a:lnTo>
                    <a:pt x="10" y="36"/>
                  </a:lnTo>
                  <a:lnTo>
                    <a:pt x="20" y="40"/>
                  </a:lnTo>
                  <a:lnTo>
                    <a:pt x="24" y="44"/>
                  </a:lnTo>
                  <a:lnTo>
                    <a:pt x="30" y="5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46" name="Freeform 40"/>
            <p:cNvSpPr>
              <a:spLocks/>
            </p:cNvSpPr>
            <p:nvPr/>
          </p:nvSpPr>
          <p:spPr bwMode="auto">
            <a:xfrm>
              <a:off x="1722930" y="2392249"/>
              <a:ext cx="28904" cy="37784"/>
            </a:xfrm>
            <a:custGeom>
              <a:avLst/>
              <a:gdLst>
                <a:gd name="T0" fmla="*/ 30 w 42"/>
                <a:gd name="T1" fmla="*/ 52 h 52"/>
                <a:gd name="T2" fmla="*/ 32 w 42"/>
                <a:gd name="T3" fmla="*/ 36 h 52"/>
                <a:gd name="T4" fmla="*/ 42 w 42"/>
                <a:gd name="T5" fmla="*/ 28 h 52"/>
                <a:gd name="T6" fmla="*/ 42 w 42"/>
                <a:gd name="T7" fmla="*/ 20 h 52"/>
                <a:gd name="T8" fmla="*/ 36 w 42"/>
                <a:gd name="T9" fmla="*/ 14 h 52"/>
                <a:gd name="T10" fmla="*/ 30 w 42"/>
                <a:gd name="T11" fmla="*/ 6 h 52"/>
                <a:gd name="T12" fmla="*/ 28 w 42"/>
                <a:gd name="T13" fmla="*/ 0 h 52"/>
                <a:gd name="T14" fmla="*/ 18 w 42"/>
                <a:gd name="T15" fmla="*/ 0 h 52"/>
                <a:gd name="T16" fmla="*/ 12 w 42"/>
                <a:gd name="T17" fmla="*/ 4 h 52"/>
                <a:gd name="T18" fmla="*/ 12 w 42"/>
                <a:gd name="T19" fmla="*/ 14 h 52"/>
                <a:gd name="T20" fmla="*/ 6 w 42"/>
                <a:gd name="T21" fmla="*/ 24 h 52"/>
                <a:gd name="T22" fmla="*/ 0 w 42"/>
                <a:gd name="T23" fmla="*/ 26 h 52"/>
                <a:gd name="T24" fmla="*/ 2 w 42"/>
                <a:gd name="T25" fmla="*/ 34 h 52"/>
                <a:gd name="T26" fmla="*/ 10 w 42"/>
                <a:gd name="T27" fmla="*/ 36 h 52"/>
                <a:gd name="T28" fmla="*/ 20 w 42"/>
                <a:gd name="T29" fmla="*/ 40 h 52"/>
                <a:gd name="T30" fmla="*/ 24 w 42"/>
                <a:gd name="T31" fmla="*/ 44 h 52"/>
                <a:gd name="T32" fmla="*/ 30 w 42"/>
                <a:gd name="T3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2">
                  <a:moveTo>
                    <a:pt x="30" y="52"/>
                  </a:moveTo>
                  <a:lnTo>
                    <a:pt x="32" y="36"/>
                  </a:lnTo>
                  <a:lnTo>
                    <a:pt x="42" y="28"/>
                  </a:lnTo>
                  <a:lnTo>
                    <a:pt x="42" y="20"/>
                  </a:lnTo>
                  <a:lnTo>
                    <a:pt x="36" y="14"/>
                  </a:lnTo>
                  <a:lnTo>
                    <a:pt x="30" y="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12" y="14"/>
                  </a:lnTo>
                  <a:lnTo>
                    <a:pt x="6" y="24"/>
                  </a:lnTo>
                  <a:lnTo>
                    <a:pt x="0" y="26"/>
                  </a:lnTo>
                  <a:lnTo>
                    <a:pt x="2" y="34"/>
                  </a:lnTo>
                  <a:lnTo>
                    <a:pt x="10" y="36"/>
                  </a:lnTo>
                  <a:lnTo>
                    <a:pt x="20" y="40"/>
                  </a:lnTo>
                  <a:lnTo>
                    <a:pt x="24" y="44"/>
                  </a:lnTo>
                  <a:lnTo>
                    <a:pt x="30" y="5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47" name="Freeform 41"/>
            <p:cNvSpPr>
              <a:spLocks/>
            </p:cNvSpPr>
            <p:nvPr/>
          </p:nvSpPr>
          <p:spPr bwMode="auto">
            <a:xfrm>
              <a:off x="1687144" y="2246926"/>
              <a:ext cx="108733" cy="119164"/>
            </a:xfrm>
            <a:custGeom>
              <a:avLst/>
              <a:gdLst>
                <a:gd name="T0" fmla="*/ 66 w 158"/>
                <a:gd name="T1" fmla="*/ 4 h 164"/>
                <a:gd name="T2" fmla="*/ 50 w 158"/>
                <a:gd name="T3" fmla="*/ 24 h 164"/>
                <a:gd name="T4" fmla="*/ 50 w 158"/>
                <a:gd name="T5" fmla="*/ 28 h 164"/>
                <a:gd name="T6" fmla="*/ 40 w 158"/>
                <a:gd name="T7" fmla="*/ 38 h 164"/>
                <a:gd name="T8" fmla="*/ 42 w 158"/>
                <a:gd name="T9" fmla="*/ 40 h 164"/>
                <a:gd name="T10" fmla="*/ 38 w 158"/>
                <a:gd name="T11" fmla="*/ 46 h 164"/>
                <a:gd name="T12" fmla="*/ 28 w 158"/>
                <a:gd name="T13" fmla="*/ 56 h 164"/>
                <a:gd name="T14" fmla="*/ 20 w 158"/>
                <a:gd name="T15" fmla="*/ 68 h 164"/>
                <a:gd name="T16" fmla="*/ 16 w 158"/>
                <a:gd name="T17" fmla="*/ 72 h 164"/>
                <a:gd name="T18" fmla="*/ 20 w 158"/>
                <a:gd name="T19" fmla="*/ 78 h 164"/>
                <a:gd name="T20" fmla="*/ 16 w 158"/>
                <a:gd name="T21" fmla="*/ 86 h 164"/>
                <a:gd name="T22" fmla="*/ 12 w 158"/>
                <a:gd name="T23" fmla="*/ 92 h 164"/>
                <a:gd name="T24" fmla="*/ 6 w 158"/>
                <a:gd name="T25" fmla="*/ 96 h 164"/>
                <a:gd name="T26" fmla="*/ 0 w 158"/>
                <a:gd name="T27" fmla="*/ 104 h 164"/>
                <a:gd name="T28" fmla="*/ 0 w 158"/>
                <a:gd name="T29" fmla="*/ 112 h 164"/>
                <a:gd name="T30" fmla="*/ 8 w 158"/>
                <a:gd name="T31" fmla="*/ 116 h 164"/>
                <a:gd name="T32" fmla="*/ 26 w 158"/>
                <a:gd name="T33" fmla="*/ 116 h 164"/>
                <a:gd name="T34" fmla="*/ 36 w 158"/>
                <a:gd name="T35" fmla="*/ 110 h 164"/>
                <a:gd name="T36" fmla="*/ 46 w 158"/>
                <a:gd name="T37" fmla="*/ 108 h 164"/>
                <a:gd name="T38" fmla="*/ 54 w 158"/>
                <a:gd name="T39" fmla="*/ 116 h 164"/>
                <a:gd name="T40" fmla="*/ 62 w 158"/>
                <a:gd name="T41" fmla="*/ 120 h 164"/>
                <a:gd name="T42" fmla="*/ 74 w 158"/>
                <a:gd name="T43" fmla="*/ 120 h 164"/>
                <a:gd name="T44" fmla="*/ 70 w 158"/>
                <a:gd name="T45" fmla="*/ 132 h 164"/>
                <a:gd name="T46" fmla="*/ 74 w 158"/>
                <a:gd name="T47" fmla="*/ 164 h 164"/>
                <a:gd name="T48" fmla="*/ 84 w 158"/>
                <a:gd name="T49" fmla="*/ 162 h 164"/>
                <a:gd name="T50" fmla="*/ 90 w 158"/>
                <a:gd name="T51" fmla="*/ 162 h 164"/>
                <a:gd name="T52" fmla="*/ 92 w 158"/>
                <a:gd name="T53" fmla="*/ 154 h 164"/>
                <a:gd name="T54" fmla="*/ 94 w 158"/>
                <a:gd name="T55" fmla="*/ 136 h 164"/>
                <a:gd name="T56" fmla="*/ 100 w 158"/>
                <a:gd name="T57" fmla="*/ 126 h 164"/>
                <a:gd name="T58" fmla="*/ 100 w 158"/>
                <a:gd name="T59" fmla="*/ 110 h 164"/>
                <a:gd name="T60" fmla="*/ 106 w 158"/>
                <a:gd name="T61" fmla="*/ 100 h 164"/>
                <a:gd name="T62" fmla="*/ 120 w 158"/>
                <a:gd name="T63" fmla="*/ 96 h 164"/>
                <a:gd name="T64" fmla="*/ 142 w 158"/>
                <a:gd name="T65" fmla="*/ 70 h 164"/>
                <a:gd name="T66" fmla="*/ 144 w 158"/>
                <a:gd name="T67" fmla="*/ 60 h 164"/>
                <a:gd name="T68" fmla="*/ 142 w 158"/>
                <a:gd name="T69" fmla="*/ 42 h 164"/>
                <a:gd name="T70" fmla="*/ 156 w 158"/>
                <a:gd name="T71" fmla="*/ 30 h 164"/>
                <a:gd name="T72" fmla="*/ 158 w 158"/>
                <a:gd name="T73" fmla="*/ 10 h 164"/>
                <a:gd name="T74" fmla="*/ 148 w 158"/>
                <a:gd name="T75" fmla="*/ 2 h 164"/>
                <a:gd name="T76" fmla="*/ 142 w 158"/>
                <a:gd name="T77" fmla="*/ 0 h 164"/>
                <a:gd name="T78" fmla="*/ 128 w 158"/>
                <a:gd name="T79" fmla="*/ 0 h 164"/>
                <a:gd name="T80" fmla="*/ 100 w 158"/>
                <a:gd name="T81" fmla="*/ 0 h 164"/>
                <a:gd name="T82" fmla="*/ 92 w 158"/>
                <a:gd name="T83" fmla="*/ 6 h 164"/>
                <a:gd name="T84" fmla="*/ 86 w 158"/>
                <a:gd name="T85" fmla="*/ 14 h 164"/>
                <a:gd name="T86" fmla="*/ 88 w 158"/>
                <a:gd name="T87" fmla="*/ 20 h 164"/>
                <a:gd name="T88" fmla="*/ 98 w 158"/>
                <a:gd name="T89" fmla="*/ 28 h 164"/>
                <a:gd name="T90" fmla="*/ 104 w 158"/>
                <a:gd name="T91" fmla="*/ 36 h 164"/>
                <a:gd name="T92" fmla="*/ 104 w 158"/>
                <a:gd name="T93" fmla="*/ 46 h 164"/>
                <a:gd name="T94" fmla="*/ 92 w 158"/>
                <a:gd name="T95" fmla="*/ 54 h 164"/>
                <a:gd name="T96" fmla="*/ 82 w 158"/>
                <a:gd name="T97" fmla="*/ 56 h 164"/>
                <a:gd name="T98" fmla="*/ 74 w 158"/>
                <a:gd name="T99" fmla="*/ 58 h 164"/>
                <a:gd name="T100" fmla="*/ 70 w 158"/>
                <a:gd name="T101" fmla="*/ 52 h 164"/>
                <a:gd name="T102" fmla="*/ 66 w 158"/>
                <a:gd name="T103" fmla="*/ 42 h 164"/>
                <a:gd name="T104" fmla="*/ 72 w 158"/>
                <a:gd name="T105" fmla="*/ 34 h 164"/>
                <a:gd name="T106" fmla="*/ 70 w 158"/>
                <a:gd name="T107" fmla="*/ 24 h 164"/>
                <a:gd name="T108" fmla="*/ 70 w 158"/>
                <a:gd name="T109" fmla="*/ 16 h 164"/>
                <a:gd name="T110" fmla="*/ 66 w 158"/>
                <a:gd name="T111" fmla="*/ 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8" h="164">
                  <a:moveTo>
                    <a:pt x="66" y="4"/>
                  </a:moveTo>
                  <a:lnTo>
                    <a:pt x="50" y="24"/>
                  </a:lnTo>
                  <a:lnTo>
                    <a:pt x="50" y="28"/>
                  </a:lnTo>
                  <a:lnTo>
                    <a:pt x="40" y="38"/>
                  </a:lnTo>
                  <a:lnTo>
                    <a:pt x="42" y="40"/>
                  </a:lnTo>
                  <a:lnTo>
                    <a:pt x="38" y="46"/>
                  </a:lnTo>
                  <a:lnTo>
                    <a:pt x="28" y="56"/>
                  </a:lnTo>
                  <a:lnTo>
                    <a:pt x="20" y="68"/>
                  </a:lnTo>
                  <a:lnTo>
                    <a:pt x="16" y="72"/>
                  </a:lnTo>
                  <a:lnTo>
                    <a:pt x="20" y="78"/>
                  </a:lnTo>
                  <a:lnTo>
                    <a:pt x="16" y="86"/>
                  </a:lnTo>
                  <a:lnTo>
                    <a:pt x="12" y="92"/>
                  </a:lnTo>
                  <a:lnTo>
                    <a:pt x="6" y="96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8" y="116"/>
                  </a:lnTo>
                  <a:lnTo>
                    <a:pt x="26" y="116"/>
                  </a:lnTo>
                  <a:lnTo>
                    <a:pt x="36" y="110"/>
                  </a:lnTo>
                  <a:lnTo>
                    <a:pt x="46" y="108"/>
                  </a:lnTo>
                  <a:lnTo>
                    <a:pt x="54" y="116"/>
                  </a:lnTo>
                  <a:lnTo>
                    <a:pt x="62" y="120"/>
                  </a:lnTo>
                  <a:lnTo>
                    <a:pt x="74" y="120"/>
                  </a:lnTo>
                  <a:lnTo>
                    <a:pt x="70" y="132"/>
                  </a:lnTo>
                  <a:lnTo>
                    <a:pt x="74" y="164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2" y="154"/>
                  </a:lnTo>
                  <a:lnTo>
                    <a:pt x="94" y="136"/>
                  </a:lnTo>
                  <a:lnTo>
                    <a:pt x="100" y="126"/>
                  </a:lnTo>
                  <a:lnTo>
                    <a:pt x="100" y="110"/>
                  </a:lnTo>
                  <a:lnTo>
                    <a:pt x="106" y="100"/>
                  </a:lnTo>
                  <a:lnTo>
                    <a:pt x="120" y="96"/>
                  </a:lnTo>
                  <a:lnTo>
                    <a:pt x="142" y="70"/>
                  </a:lnTo>
                  <a:lnTo>
                    <a:pt x="144" y="60"/>
                  </a:lnTo>
                  <a:lnTo>
                    <a:pt x="142" y="42"/>
                  </a:lnTo>
                  <a:lnTo>
                    <a:pt x="156" y="30"/>
                  </a:lnTo>
                  <a:lnTo>
                    <a:pt x="158" y="10"/>
                  </a:lnTo>
                  <a:lnTo>
                    <a:pt x="148" y="2"/>
                  </a:lnTo>
                  <a:lnTo>
                    <a:pt x="142" y="0"/>
                  </a:lnTo>
                  <a:lnTo>
                    <a:pt x="128" y="0"/>
                  </a:lnTo>
                  <a:lnTo>
                    <a:pt x="100" y="0"/>
                  </a:lnTo>
                  <a:lnTo>
                    <a:pt x="92" y="6"/>
                  </a:lnTo>
                  <a:lnTo>
                    <a:pt x="86" y="14"/>
                  </a:lnTo>
                  <a:lnTo>
                    <a:pt x="88" y="20"/>
                  </a:lnTo>
                  <a:lnTo>
                    <a:pt x="98" y="28"/>
                  </a:lnTo>
                  <a:lnTo>
                    <a:pt x="104" y="36"/>
                  </a:lnTo>
                  <a:lnTo>
                    <a:pt x="104" y="46"/>
                  </a:lnTo>
                  <a:lnTo>
                    <a:pt x="92" y="54"/>
                  </a:lnTo>
                  <a:lnTo>
                    <a:pt x="82" y="56"/>
                  </a:lnTo>
                  <a:lnTo>
                    <a:pt x="74" y="58"/>
                  </a:lnTo>
                  <a:lnTo>
                    <a:pt x="70" y="52"/>
                  </a:lnTo>
                  <a:lnTo>
                    <a:pt x="66" y="42"/>
                  </a:lnTo>
                  <a:lnTo>
                    <a:pt x="72" y="34"/>
                  </a:lnTo>
                  <a:lnTo>
                    <a:pt x="70" y="24"/>
                  </a:lnTo>
                  <a:lnTo>
                    <a:pt x="70" y="16"/>
                  </a:lnTo>
                  <a:lnTo>
                    <a:pt x="66" y="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48" name="Freeform 42"/>
            <p:cNvSpPr>
              <a:spLocks/>
            </p:cNvSpPr>
            <p:nvPr/>
          </p:nvSpPr>
          <p:spPr bwMode="auto">
            <a:xfrm>
              <a:off x="1687144" y="2246926"/>
              <a:ext cx="108733" cy="119164"/>
            </a:xfrm>
            <a:custGeom>
              <a:avLst/>
              <a:gdLst>
                <a:gd name="T0" fmla="*/ 66 w 158"/>
                <a:gd name="T1" fmla="*/ 4 h 164"/>
                <a:gd name="T2" fmla="*/ 50 w 158"/>
                <a:gd name="T3" fmla="*/ 24 h 164"/>
                <a:gd name="T4" fmla="*/ 50 w 158"/>
                <a:gd name="T5" fmla="*/ 28 h 164"/>
                <a:gd name="T6" fmla="*/ 40 w 158"/>
                <a:gd name="T7" fmla="*/ 38 h 164"/>
                <a:gd name="T8" fmla="*/ 42 w 158"/>
                <a:gd name="T9" fmla="*/ 40 h 164"/>
                <a:gd name="T10" fmla="*/ 38 w 158"/>
                <a:gd name="T11" fmla="*/ 46 h 164"/>
                <a:gd name="T12" fmla="*/ 28 w 158"/>
                <a:gd name="T13" fmla="*/ 56 h 164"/>
                <a:gd name="T14" fmla="*/ 20 w 158"/>
                <a:gd name="T15" fmla="*/ 68 h 164"/>
                <a:gd name="T16" fmla="*/ 16 w 158"/>
                <a:gd name="T17" fmla="*/ 72 h 164"/>
                <a:gd name="T18" fmla="*/ 20 w 158"/>
                <a:gd name="T19" fmla="*/ 78 h 164"/>
                <a:gd name="T20" fmla="*/ 16 w 158"/>
                <a:gd name="T21" fmla="*/ 86 h 164"/>
                <a:gd name="T22" fmla="*/ 12 w 158"/>
                <a:gd name="T23" fmla="*/ 92 h 164"/>
                <a:gd name="T24" fmla="*/ 6 w 158"/>
                <a:gd name="T25" fmla="*/ 96 h 164"/>
                <a:gd name="T26" fmla="*/ 0 w 158"/>
                <a:gd name="T27" fmla="*/ 104 h 164"/>
                <a:gd name="T28" fmla="*/ 0 w 158"/>
                <a:gd name="T29" fmla="*/ 112 h 164"/>
                <a:gd name="T30" fmla="*/ 8 w 158"/>
                <a:gd name="T31" fmla="*/ 116 h 164"/>
                <a:gd name="T32" fmla="*/ 26 w 158"/>
                <a:gd name="T33" fmla="*/ 116 h 164"/>
                <a:gd name="T34" fmla="*/ 36 w 158"/>
                <a:gd name="T35" fmla="*/ 110 h 164"/>
                <a:gd name="T36" fmla="*/ 46 w 158"/>
                <a:gd name="T37" fmla="*/ 108 h 164"/>
                <a:gd name="T38" fmla="*/ 54 w 158"/>
                <a:gd name="T39" fmla="*/ 116 h 164"/>
                <a:gd name="T40" fmla="*/ 62 w 158"/>
                <a:gd name="T41" fmla="*/ 120 h 164"/>
                <a:gd name="T42" fmla="*/ 74 w 158"/>
                <a:gd name="T43" fmla="*/ 120 h 164"/>
                <a:gd name="T44" fmla="*/ 70 w 158"/>
                <a:gd name="T45" fmla="*/ 132 h 164"/>
                <a:gd name="T46" fmla="*/ 74 w 158"/>
                <a:gd name="T47" fmla="*/ 164 h 164"/>
                <a:gd name="T48" fmla="*/ 84 w 158"/>
                <a:gd name="T49" fmla="*/ 162 h 164"/>
                <a:gd name="T50" fmla="*/ 90 w 158"/>
                <a:gd name="T51" fmla="*/ 162 h 164"/>
                <a:gd name="T52" fmla="*/ 92 w 158"/>
                <a:gd name="T53" fmla="*/ 154 h 164"/>
                <a:gd name="T54" fmla="*/ 94 w 158"/>
                <a:gd name="T55" fmla="*/ 136 h 164"/>
                <a:gd name="T56" fmla="*/ 100 w 158"/>
                <a:gd name="T57" fmla="*/ 126 h 164"/>
                <a:gd name="T58" fmla="*/ 100 w 158"/>
                <a:gd name="T59" fmla="*/ 110 h 164"/>
                <a:gd name="T60" fmla="*/ 106 w 158"/>
                <a:gd name="T61" fmla="*/ 100 h 164"/>
                <a:gd name="T62" fmla="*/ 120 w 158"/>
                <a:gd name="T63" fmla="*/ 96 h 164"/>
                <a:gd name="T64" fmla="*/ 142 w 158"/>
                <a:gd name="T65" fmla="*/ 70 h 164"/>
                <a:gd name="T66" fmla="*/ 144 w 158"/>
                <a:gd name="T67" fmla="*/ 60 h 164"/>
                <a:gd name="T68" fmla="*/ 142 w 158"/>
                <a:gd name="T69" fmla="*/ 42 h 164"/>
                <a:gd name="T70" fmla="*/ 156 w 158"/>
                <a:gd name="T71" fmla="*/ 30 h 164"/>
                <a:gd name="T72" fmla="*/ 158 w 158"/>
                <a:gd name="T73" fmla="*/ 10 h 164"/>
                <a:gd name="T74" fmla="*/ 148 w 158"/>
                <a:gd name="T75" fmla="*/ 2 h 164"/>
                <a:gd name="T76" fmla="*/ 142 w 158"/>
                <a:gd name="T77" fmla="*/ 0 h 164"/>
                <a:gd name="T78" fmla="*/ 128 w 158"/>
                <a:gd name="T79" fmla="*/ 0 h 164"/>
                <a:gd name="T80" fmla="*/ 100 w 158"/>
                <a:gd name="T81" fmla="*/ 0 h 164"/>
                <a:gd name="T82" fmla="*/ 92 w 158"/>
                <a:gd name="T83" fmla="*/ 6 h 164"/>
                <a:gd name="T84" fmla="*/ 86 w 158"/>
                <a:gd name="T85" fmla="*/ 14 h 164"/>
                <a:gd name="T86" fmla="*/ 88 w 158"/>
                <a:gd name="T87" fmla="*/ 20 h 164"/>
                <a:gd name="T88" fmla="*/ 98 w 158"/>
                <a:gd name="T89" fmla="*/ 28 h 164"/>
                <a:gd name="T90" fmla="*/ 104 w 158"/>
                <a:gd name="T91" fmla="*/ 36 h 164"/>
                <a:gd name="T92" fmla="*/ 104 w 158"/>
                <a:gd name="T93" fmla="*/ 46 h 164"/>
                <a:gd name="T94" fmla="*/ 92 w 158"/>
                <a:gd name="T95" fmla="*/ 54 h 164"/>
                <a:gd name="T96" fmla="*/ 82 w 158"/>
                <a:gd name="T97" fmla="*/ 56 h 164"/>
                <a:gd name="T98" fmla="*/ 74 w 158"/>
                <a:gd name="T99" fmla="*/ 58 h 164"/>
                <a:gd name="T100" fmla="*/ 70 w 158"/>
                <a:gd name="T101" fmla="*/ 52 h 164"/>
                <a:gd name="T102" fmla="*/ 66 w 158"/>
                <a:gd name="T103" fmla="*/ 42 h 164"/>
                <a:gd name="T104" fmla="*/ 72 w 158"/>
                <a:gd name="T105" fmla="*/ 34 h 164"/>
                <a:gd name="T106" fmla="*/ 70 w 158"/>
                <a:gd name="T107" fmla="*/ 24 h 164"/>
                <a:gd name="T108" fmla="*/ 70 w 158"/>
                <a:gd name="T109" fmla="*/ 16 h 164"/>
                <a:gd name="T110" fmla="*/ 66 w 158"/>
                <a:gd name="T111" fmla="*/ 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8" h="164">
                  <a:moveTo>
                    <a:pt x="66" y="4"/>
                  </a:moveTo>
                  <a:lnTo>
                    <a:pt x="50" y="24"/>
                  </a:lnTo>
                  <a:lnTo>
                    <a:pt x="50" y="28"/>
                  </a:lnTo>
                  <a:lnTo>
                    <a:pt x="40" y="38"/>
                  </a:lnTo>
                  <a:lnTo>
                    <a:pt x="42" y="40"/>
                  </a:lnTo>
                  <a:lnTo>
                    <a:pt x="38" y="46"/>
                  </a:lnTo>
                  <a:lnTo>
                    <a:pt x="28" y="56"/>
                  </a:lnTo>
                  <a:lnTo>
                    <a:pt x="20" y="68"/>
                  </a:lnTo>
                  <a:lnTo>
                    <a:pt x="16" y="72"/>
                  </a:lnTo>
                  <a:lnTo>
                    <a:pt x="20" y="78"/>
                  </a:lnTo>
                  <a:lnTo>
                    <a:pt x="16" y="86"/>
                  </a:lnTo>
                  <a:lnTo>
                    <a:pt x="12" y="92"/>
                  </a:lnTo>
                  <a:lnTo>
                    <a:pt x="6" y="96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8" y="116"/>
                  </a:lnTo>
                  <a:lnTo>
                    <a:pt x="26" y="116"/>
                  </a:lnTo>
                  <a:lnTo>
                    <a:pt x="36" y="110"/>
                  </a:lnTo>
                  <a:lnTo>
                    <a:pt x="46" y="108"/>
                  </a:lnTo>
                  <a:lnTo>
                    <a:pt x="54" y="116"/>
                  </a:lnTo>
                  <a:lnTo>
                    <a:pt x="62" y="120"/>
                  </a:lnTo>
                  <a:lnTo>
                    <a:pt x="74" y="120"/>
                  </a:lnTo>
                  <a:lnTo>
                    <a:pt x="70" y="132"/>
                  </a:lnTo>
                  <a:lnTo>
                    <a:pt x="74" y="164"/>
                  </a:lnTo>
                  <a:lnTo>
                    <a:pt x="84" y="162"/>
                  </a:lnTo>
                  <a:lnTo>
                    <a:pt x="90" y="162"/>
                  </a:lnTo>
                  <a:lnTo>
                    <a:pt x="92" y="154"/>
                  </a:lnTo>
                  <a:lnTo>
                    <a:pt x="94" y="136"/>
                  </a:lnTo>
                  <a:lnTo>
                    <a:pt x="100" y="126"/>
                  </a:lnTo>
                  <a:lnTo>
                    <a:pt x="100" y="110"/>
                  </a:lnTo>
                  <a:lnTo>
                    <a:pt x="106" y="100"/>
                  </a:lnTo>
                  <a:lnTo>
                    <a:pt x="120" y="96"/>
                  </a:lnTo>
                  <a:lnTo>
                    <a:pt x="142" y="70"/>
                  </a:lnTo>
                  <a:lnTo>
                    <a:pt x="144" y="60"/>
                  </a:lnTo>
                  <a:lnTo>
                    <a:pt x="142" y="42"/>
                  </a:lnTo>
                  <a:lnTo>
                    <a:pt x="156" y="30"/>
                  </a:lnTo>
                  <a:lnTo>
                    <a:pt x="158" y="10"/>
                  </a:lnTo>
                  <a:lnTo>
                    <a:pt x="148" y="2"/>
                  </a:lnTo>
                  <a:lnTo>
                    <a:pt x="142" y="0"/>
                  </a:lnTo>
                  <a:lnTo>
                    <a:pt x="128" y="0"/>
                  </a:lnTo>
                  <a:lnTo>
                    <a:pt x="100" y="0"/>
                  </a:lnTo>
                  <a:lnTo>
                    <a:pt x="92" y="6"/>
                  </a:lnTo>
                  <a:lnTo>
                    <a:pt x="86" y="14"/>
                  </a:lnTo>
                  <a:lnTo>
                    <a:pt x="88" y="20"/>
                  </a:lnTo>
                  <a:lnTo>
                    <a:pt x="98" y="28"/>
                  </a:lnTo>
                  <a:lnTo>
                    <a:pt x="104" y="36"/>
                  </a:lnTo>
                  <a:lnTo>
                    <a:pt x="104" y="46"/>
                  </a:lnTo>
                  <a:lnTo>
                    <a:pt x="92" y="54"/>
                  </a:lnTo>
                  <a:lnTo>
                    <a:pt x="82" y="56"/>
                  </a:lnTo>
                  <a:lnTo>
                    <a:pt x="74" y="58"/>
                  </a:lnTo>
                  <a:lnTo>
                    <a:pt x="70" y="52"/>
                  </a:lnTo>
                  <a:lnTo>
                    <a:pt x="66" y="42"/>
                  </a:lnTo>
                  <a:lnTo>
                    <a:pt x="72" y="34"/>
                  </a:lnTo>
                  <a:lnTo>
                    <a:pt x="70" y="24"/>
                  </a:lnTo>
                  <a:lnTo>
                    <a:pt x="70" y="16"/>
                  </a:lnTo>
                  <a:lnTo>
                    <a:pt x="66" y="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49" name="Freeform 43"/>
            <p:cNvSpPr>
              <a:spLocks/>
            </p:cNvSpPr>
            <p:nvPr/>
          </p:nvSpPr>
          <p:spPr bwMode="auto">
            <a:xfrm>
              <a:off x="1316900" y="2059461"/>
              <a:ext cx="154153" cy="145322"/>
            </a:xfrm>
            <a:custGeom>
              <a:avLst/>
              <a:gdLst>
                <a:gd name="T0" fmla="*/ 80 w 224"/>
                <a:gd name="T1" fmla="*/ 82 h 200"/>
                <a:gd name="T2" fmla="*/ 78 w 224"/>
                <a:gd name="T3" fmla="*/ 100 h 200"/>
                <a:gd name="T4" fmla="*/ 64 w 224"/>
                <a:gd name="T5" fmla="*/ 98 h 200"/>
                <a:gd name="T6" fmla="*/ 46 w 224"/>
                <a:gd name="T7" fmla="*/ 120 h 200"/>
                <a:gd name="T8" fmla="*/ 24 w 224"/>
                <a:gd name="T9" fmla="*/ 138 h 200"/>
                <a:gd name="T10" fmla="*/ 10 w 224"/>
                <a:gd name="T11" fmla="*/ 140 h 200"/>
                <a:gd name="T12" fmla="*/ 4 w 224"/>
                <a:gd name="T13" fmla="*/ 144 h 200"/>
                <a:gd name="T14" fmla="*/ 8 w 224"/>
                <a:gd name="T15" fmla="*/ 160 h 200"/>
                <a:gd name="T16" fmla="*/ 2 w 224"/>
                <a:gd name="T17" fmla="*/ 176 h 200"/>
                <a:gd name="T18" fmla="*/ 16 w 224"/>
                <a:gd name="T19" fmla="*/ 170 h 200"/>
                <a:gd name="T20" fmla="*/ 14 w 224"/>
                <a:gd name="T21" fmla="*/ 180 h 200"/>
                <a:gd name="T22" fmla="*/ 22 w 224"/>
                <a:gd name="T23" fmla="*/ 190 h 200"/>
                <a:gd name="T24" fmla="*/ 42 w 224"/>
                <a:gd name="T25" fmla="*/ 194 h 200"/>
                <a:gd name="T26" fmla="*/ 66 w 224"/>
                <a:gd name="T27" fmla="*/ 196 h 200"/>
                <a:gd name="T28" fmla="*/ 100 w 224"/>
                <a:gd name="T29" fmla="*/ 192 h 200"/>
                <a:gd name="T30" fmla="*/ 158 w 224"/>
                <a:gd name="T31" fmla="*/ 188 h 200"/>
                <a:gd name="T32" fmla="*/ 180 w 224"/>
                <a:gd name="T33" fmla="*/ 168 h 200"/>
                <a:gd name="T34" fmla="*/ 188 w 224"/>
                <a:gd name="T35" fmla="*/ 148 h 200"/>
                <a:gd name="T36" fmla="*/ 206 w 224"/>
                <a:gd name="T37" fmla="*/ 120 h 200"/>
                <a:gd name="T38" fmla="*/ 224 w 224"/>
                <a:gd name="T39" fmla="*/ 86 h 200"/>
                <a:gd name="T40" fmla="*/ 208 w 224"/>
                <a:gd name="T41" fmla="*/ 62 h 200"/>
                <a:gd name="T42" fmla="*/ 192 w 224"/>
                <a:gd name="T43" fmla="*/ 54 h 200"/>
                <a:gd name="T44" fmla="*/ 170 w 224"/>
                <a:gd name="T45" fmla="*/ 34 h 200"/>
                <a:gd name="T46" fmla="*/ 202 w 224"/>
                <a:gd name="T47" fmla="*/ 6 h 200"/>
                <a:gd name="T48" fmla="*/ 192 w 224"/>
                <a:gd name="T49" fmla="*/ 2 h 200"/>
                <a:gd name="T50" fmla="*/ 154 w 224"/>
                <a:gd name="T51" fmla="*/ 10 h 200"/>
                <a:gd name="T52" fmla="*/ 138 w 224"/>
                <a:gd name="T53" fmla="*/ 12 h 200"/>
                <a:gd name="T54" fmla="*/ 136 w 224"/>
                <a:gd name="T55" fmla="*/ 24 h 200"/>
                <a:gd name="T56" fmla="*/ 140 w 224"/>
                <a:gd name="T57" fmla="*/ 34 h 200"/>
                <a:gd name="T58" fmla="*/ 100 w 224"/>
                <a:gd name="T59" fmla="*/ 30 h 200"/>
                <a:gd name="T60" fmla="*/ 78 w 224"/>
                <a:gd name="T61" fmla="*/ 26 h 200"/>
                <a:gd name="T62" fmla="*/ 76 w 224"/>
                <a:gd name="T63" fmla="*/ 46 h 200"/>
                <a:gd name="T64" fmla="*/ 64 w 224"/>
                <a:gd name="T65" fmla="*/ 52 h 200"/>
                <a:gd name="T66" fmla="*/ 64 w 224"/>
                <a:gd name="T67" fmla="*/ 68 h 200"/>
                <a:gd name="T68" fmla="*/ 62 w 224"/>
                <a:gd name="T69" fmla="*/ 92 h 200"/>
                <a:gd name="T70" fmla="*/ 82 w 224"/>
                <a:gd name="T71" fmla="*/ 7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4" h="200">
                  <a:moveTo>
                    <a:pt x="82" y="76"/>
                  </a:moveTo>
                  <a:lnTo>
                    <a:pt x="80" y="82"/>
                  </a:lnTo>
                  <a:lnTo>
                    <a:pt x="82" y="94"/>
                  </a:lnTo>
                  <a:lnTo>
                    <a:pt x="78" y="100"/>
                  </a:lnTo>
                  <a:lnTo>
                    <a:pt x="72" y="96"/>
                  </a:lnTo>
                  <a:lnTo>
                    <a:pt x="64" y="98"/>
                  </a:lnTo>
                  <a:lnTo>
                    <a:pt x="64" y="106"/>
                  </a:lnTo>
                  <a:lnTo>
                    <a:pt x="46" y="120"/>
                  </a:lnTo>
                  <a:lnTo>
                    <a:pt x="36" y="124"/>
                  </a:lnTo>
                  <a:lnTo>
                    <a:pt x="24" y="138"/>
                  </a:lnTo>
                  <a:lnTo>
                    <a:pt x="16" y="142"/>
                  </a:lnTo>
                  <a:lnTo>
                    <a:pt x="10" y="140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8" y="150"/>
                  </a:lnTo>
                  <a:lnTo>
                    <a:pt x="8" y="160"/>
                  </a:lnTo>
                  <a:lnTo>
                    <a:pt x="0" y="168"/>
                  </a:lnTo>
                  <a:lnTo>
                    <a:pt x="2" y="176"/>
                  </a:lnTo>
                  <a:lnTo>
                    <a:pt x="12" y="176"/>
                  </a:lnTo>
                  <a:lnTo>
                    <a:pt x="16" y="170"/>
                  </a:lnTo>
                  <a:lnTo>
                    <a:pt x="22" y="176"/>
                  </a:lnTo>
                  <a:lnTo>
                    <a:pt x="14" y="180"/>
                  </a:lnTo>
                  <a:lnTo>
                    <a:pt x="18" y="188"/>
                  </a:lnTo>
                  <a:lnTo>
                    <a:pt x="22" y="190"/>
                  </a:lnTo>
                  <a:lnTo>
                    <a:pt x="40" y="192"/>
                  </a:lnTo>
                  <a:lnTo>
                    <a:pt x="42" y="194"/>
                  </a:lnTo>
                  <a:lnTo>
                    <a:pt x="58" y="200"/>
                  </a:lnTo>
                  <a:lnTo>
                    <a:pt x="66" y="196"/>
                  </a:lnTo>
                  <a:lnTo>
                    <a:pt x="80" y="188"/>
                  </a:lnTo>
                  <a:lnTo>
                    <a:pt x="100" y="192"/>
                  </a:lnTo>
                  <a:lnTo>
                    <a:pt x="136" y="192"/>
                  </a:lnTo>
                  <a:lnTo>
                    <a:pt x="158" y="188"/>
                  </a:lnTo>
                  <a:lnTo>
                    <a:pt x="168" y="174"/>
                  </a:lnTo>
                  <a:lnTo>
                    <a:pt x="180" y="168"/>
                  </a:lnTo>
                  <a:lnTo>
                    <a:pt x="184" y="160"/>
                  </a:lnTo>
                  <a:lnTo>
                    <a:pt x="188" y="148"/>
                  </a:lnTo>
                  <a:lnTo>
                    <a:pt x="198" y="140"/>
                  </a:lnTo>
                  <a:lnTo>
                    <a:pt x="206" y="120"/>
                  </a:lnTo>
                  <a:lnTo>
                    <a:pt x="204" y="98"/>
                  </a:lnTo>
                  <a:lnTo>
                    <a:pt x="224" y="86"/>
                  </a:lnTo>
                  <a:lnTo>
                    <a:pt x="212" y="78"/>
                  </a:lnTo>
                  <a:lnTo>
                    <a:pt x="208" y="62"/>
                  </a:lnTo>
                  <a:lnTo>
                    <a:pt x="200" y="54"/>
                  </a:lnTo>
                  <a:lnTo>
                    <a:pt x="192" y="54"/>
                  </a:lnTo>
                  <a:lnTo>
                    <a:pt x="184" y="50"/>
                  </a:lnTo>
                  <a:lnTo>
                    <a:pt x="170" y="34"/>
                  </a:lnTo>
                  <a:lnTo>
                    <a:pt x="176" y="30"/>
                  </a:lnTo>
                  <a:lnTo>
                    <a:pt x="202" y="6"/>
                  </a:lnTo>
                  <a:lnTo>
                    <a:pt x="200" y="0"/>
                  </a:lnTo>
                  <a:lnTo>
                    <a:pt x="192" y="2"/>
                  </a:lnTo>
                  <a:lnTo>
                    <a:pt x="164" y="4"/>
                  </a:lnTo>
                  <a:lnTo>
                    <a:pt x="154" y="10"/>
                  </a:lnTo>
                  <a:lnTo>
                    <a:pt x="148" y="14"/>
                  </a:lnTo>
                  <a:lnTo>
                    <a:pt x="138" y="12"/>
                  </a:lnTo>
                  <a:lnTo>
                    <a:pt x="132" y="16"/>
                  </a:lnTo>
                  <a:lnTo>
                    <a:pt x="136" y="24"/>
                  </a:lnTo>
                  <a:lnTo>
                    <a:pt x="150" y="32"/>
                  </a:lnTo>
                  <a:lnTo>
                    <a:pt x="140" y="34"/>
                  </a:lnTo>
                  <a:lnTo>
                    <a:pt x="116" y="36"/>
                  </a:lnTo>
                  <a:lnTo>
                    <a:pt x="100" y="30"/>
                  </a:lnTo>
                  <a:lnTo>
                    <a:pt x="84" y="24"/>
                  </a:lnTo>
                  <a:lnTo>
                    <a:pt x="78" y="26"/>
                  </a:lnTo>
                  <a:lnTo>
                    <a:pt x="74" y="40"/>
                  </a:lnTo>
                  <a:lnTo>
                    <a:pt x="76" y="46"/>
                  </a:lnTo>
                  <a:lnTo>
                    <a:pt x="72" y="48"/>
                  </a:lnTo>
                  <a:lnTo>
                    <a:pt x="64" y="52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52" y="80"/>
                  </a:lnTo>
                  <a:lnTo>
                    <a:pt x="62" y="92"/>
                  </a:lnTo>
                  <a:lnTo>
                    <a:pt x="66" y="90"/>
                  </a:lnTo>
                  <a:lnTo>
                    <a:pt x="82" y="7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50" name="Freeform 44"/>
            <p:cNvSpPr>
              <a:spLocks/>
            </p:cNvSpPr>
            <p:nvPr/>
          </p:nvSpPr>
          <p:spPr bwMode="auto">
            <a:xfrm>
              <a:off x="1316900" y="2059461"/>
              <a:ext cx="154153" cy="145322"/>
            </a:xfrm>
            <a:custGeom>
              <a:avLst/>
              <a:gdLst>
                <a:gd name="T0" fmla="*/ 80 w 224"/>
                <a:gd name="T1" fmla="*/ 82 h 200"/>
                <a:gd name="T2" fmla="*/ 78 w 224"/>
                <a:gd name="T3" fmla="*/ 100 h 200"/>
                <a:gd name="T4" fmla="*/ 64 w 224"/>
                <a:gd name="T5" fmla="*/ 98 h 200"/>
                <a:gd name="T6" fmla="*/ 46 w 224"/>
                <a:gd name="T7" fmla="*/ 120 h 200"/>
                <a:gd name="T8" fmla="*/ 24 w 224"/>
                <a:gd name="T9" fmla="*/ 138 h 200"/>
                <a:gd name="T10" fmla="*/ 10 w 224"/>
                <a:gd name="T11" fmla="*/ 140 h 200"/>
                <a:gd name="T12" fmla="*/ 4 w 224"/>
                <a:gd name="T13" fmla="*/ 144 h 200"/>
                <a:gd name="T14" fmla="*/ 8 w 224"/>
                <a:gd name="T15" fmla="*/ 160 h 200"/>
                <a:gd name="T16" fmla="*/ 2 w 224"/>
                <a:gd name="T17" fmla="*/ 176 h 200"/>
                <a:gd name="T18" fmla="*/ 16 w 224"/>
                <a:gd name="T19" fmla="*/ 170 h 200"/>
                <a:gd name="T20" fmla="*/ 14 w 224"/>
                <a:gd name="T21" fmla="*/ 180 h 200"/>
                <a:gd name="T22" fmla="*/ 22 w 224"/>
                <a:gd name="T23" fmla="*/ 190 h 200"/>
                <a:gd name="T24" fmla="*/ 42 w 224"/>
                <a:gd name="T25" fmla="*/ 194 h 200"/>
                <a:gd name="T26" fmla="*/ 66 w 224"/>
                <a:gd name="T27" fmla="*/ 196 h 200"/>
                <a:gd name="T28" fmla="*/ 100 w 224"/>
                <a:gd name="T29" fmla="*/ 192 h 200"/>
                <a:gd name="T30" fmla="*/ 158 w 224"/>
                <a:gd name="T31" fmla="*/ 188 h 200"/>
                <a:gd name="T32" fmla="*/ 180 w 224"/>
                <a:gd name="T33" fmla="*/ 168 h 200"/>
                <a:gd name="T34" fmla="*/ 188 w 224"/>
                <a:gd name="T35" fmla="*/ 148 h 200"/>
                <a:gd name="T36" fmla="*/ 206 w 224"/>
                <a:gd name="T37" fmla="*/ 120 h 200"/>
                <a:gd name="T38" fmla="*/ 224 w 224"/>
                <a:gd name="T39" fmla="*/ 86 h 200"/>
                <a:gd name="T40" fmla="*/ 208 w 224"/>
                <a:gd name="T41" fmla="*/ 62 h 200"/>
                <a:gd name="T42" fmla="*/ 192 w 224"/>
                <a:gd name="T43" fmla="*/ 54 h 200"/>
                <a:gd name="T44" fmla="*/ 170 w 224"/>
                <a:gd name="T45" fmla="*/ 34 h 200"/>
                <a:gd name="T46" fmla="*/ 202 w 224"/>
                <a:gd name="T47" fmla="*/ 6 h 200"/>
                <a:gd name="T48" fmla="*/ 192 w 224"/>
                <a:gd name="T49" fmla="*/ 2 h 200"/>
                <a:gd name="T50" fmla="*/ 154 w 224"/>
                <a:gd name="T51" fmla="*/ 10 h 200"/>
                <a:gd name="T52" fmla="*/ 138 w 224"/>
                <a:gd name="T53" fmla="*/ 12 h 200"/>
                <a:gd name="T54" fmla="*/ 136 w 224"/>
                <a:gd name="T55" fmla="*/ 24 h 200"/>
                <a:gd name="T56" fmla="*/ 140 w 224"/>
                <a:gd name="T57" fmla="*/ 34 h 200"/>
                <a:gd name="T58" fmla="*/ 100 w 224"/>
                <a:gd name="T59" fmla="*/ 30 h 200"/>
                <a:gd name="T60" fmla="*/ 78 w 224"/>
                <a:gd name="T61" fmla="*/ 26 h 200"/>
                <a:gd name="T62" fmla="*/ 76 w 224"/>
                <a:gd name="T63" fmla="*/ 46 h 200"/>
                <a:gd name="T64" fmla="*/ 64 w 224"/>
                <a:gd name="T65" fmla="*/ 52 h 200"/>
                <a:gd name="T66" fmla="*/ 64 w 224"/>
                <a:gd name="T67" fmla="*/ 68 h 200"/>
                <a:gd name="T68" fmla="*/ 62 w 224"/>
                <a:gd name="T69" fmla="*/ 92 h 200"/>
                <a:gd name="T70" fmla="*/ 82 w 224"/>
                <a:gd name="T71" fmla="*/ 7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4" h="200">
                  <a:moveTo>
                    <a:pt x="82" y="76"/>
                  </a:moveTo>
                  <a:lnTo>
                    <a:pt x="80" y="82"/>
                  </a:lnTo>
                  <a:lnTo>
                    <a:pt x="82" y="94"/>
                  </a:lnTo>
                  <a:lnTo>
                    <a:pt x="78" y="100"/>
                  </a:lnTo>
                  <a:lnTo>
                    <a:pt x="72" y="96"/>
                  </a:lnTo>
                  <a:lnTo>
                    <a:pt x="64" y="98"/>
                  </a:lnTo>
                  <a:lnTo>
                    <a:pt x="64" y="106"/>
                  </a:lnTo>
                  <a:lnTo>
                    <a:pt x="46" y="120"/>
                  </a:lnTo>
                  <a:lnTo>
                    <a:pt x="36" y="124"/>
                  </a:lnTo>
                  <a:lnTo>
                    <a:pt x="24" y="138"/>
                  </a:lnTo>
                  <a:lnTo>
                    <a:pt x="16" y="142"/>
                  </a:lnTo>
                  <a:lnTo>
                    <a:pt x="10" y="140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8" y="150"/>
                  </a:lnTo>
                  <a:lnTo>
                    <a:pt x="8" y="160"/>
                  </a:lnTo>
                  <a:lnTo>
                    <a:pt x="0" y="168"/>
                  </a:lnTo>
                  <a:lnTo>
                    <a:pt x="2" y="176"/>
                  </a:lnTo>
                  <a:lnTo>
                    <a:pt x="12" y="176"/>
                  </a:lnTo>
                  <a:lnTo>
                    <a:pt x="16" y="170"/>
                  </a:lnTo>
                  <a:lnTo>
                    <a:pt x="22" y="176"/>
                  </a:lnTo>
                  <a:lnTo>
                    <a:pt x="14" y="180"/>
                  </a:lnTo>
                  <a:lnTo>
                    <a:pt x="18" y="188"/>
                  </a:lnTo>
                  <a:lnTo>
                    <a:pt x="22" y="190"/>
                  </a:lnTo>
                  <a:lnTo>
                    <a:pt x="40" y="192"/>
                  </a:lnTo>
                  <a:lnTo>
                    <a:pt x="42" y="194"/>
                  </a:lnTo>
                  <a:lnTo>
                    <a:pt x="58" y="200"/>
                  </a:lnTo>
                  <a:lnTo>
                    <a:pt x="66" y="196"/>
                  </a:lnTo>
                  <a:lnTo>
                    <a:pt x="80" y="188"/>
                  </a:lnTo>
                  <a:lnTo>
                    <a:pt x="100" y="192"/>
                  </a:lnTo>
                  <a:lnTo>
                    <a:pt x="136" y="192"/>
                  </a:lnTo>
                  <a:lnTo>
                    <a:pt x="158" y="188"/>
                  </a:lnTo>
                  <a:lnTo>
                    <a:pt x="168" y="174"/>
                  </a:lnTo>
                  <a:lnTo>
                    <a:pt x="180" y="168"/>
                  </a:lnTo>
                  <a:lnTo>
                    <a:pt x="184" y="160"/>
                  </a:lnTo>
                  <a:lnTo>
                    <a:pt x="188" y="148"/>
                  </a:lnTo>
                  <a:lnTo>
                    <a:pt x="198" y="140"/>
                  </a:lnTo>
                  <a:lnTo>
                    <a:pt x="206" y="120"/>
                  </a:lnTo>
                  <a:lnTo>
                    <a:pt x="204" y="98"/>
                  </a:lnTo>
                  <a:lnTo>
                    <a:pt x="224" y="86"/>
                  </a:lnTo>
                  <a:lnTo>
                    <a:pt x="212" y="78"/>
                  </a:lnTo>
                  <a:lnTo>
                    <a:pt x="208" y="62"/>
                  </a:lnTo>
                  <a:lnTo>
                    <a:pt x="200" y="54"/>
                  </a:lnTo>
                  <a:lnTo>
                    <a:pt x="192" y="54"/>
                  </a:lnTo>
                  <a:lnTo>
                    <a:pt x="184" y="50"/>
                  </a:lnTo>
                  <a:lnTo>
                    <a:pt x="170" y="34"/>
                  </a:lnTo>
                  <a:lnTo>
                    <a:pt x="176" y="30"/>
                  </a:lnTo>
                  <a:lnTo>
                    <a:pt x="202" y="6"/>
                  </a:lnTo>
                  <a:lnTo>
                    <a:pt x="200" y="0"/>
                  </a:lnTo>
                  <a:lnTo>
                    <a:pt x="192" y="2"/>
                  </a:lnTo>
                  <a:lnTo>
                    <a:pt x="164" y="4"/>
                  </a:lnTo>
                  <a:lnTo>
                    <a:pt x="154" y="10"/>
                  </a:lnTo>
                  <a:lnTo>
                    <a:pt x="148" y="14"/>
                  </a:lnTo>
                  <a:lnTo>
                    <a:pt x="138" y="12"/>
                  </a:lnTo>
                  <a:lnTo>
                    <a:pt x="132" y="16"/>
                  </a:lnTo>
                  <a:lnTo>
                    <a:pt x="136" y="24"/>
                  </a:lnTo>
                  <a:lnTo>
                    <a:pt x="150" y="32"/>
                  </a:lnTo>
                  <a:lnTo>
                    <a:pt x="140" y="34"/>
                  </a:lnTo>
                  <a:lnTo>
                    <a:pt x="116" y="36"/>
                  </a:lnTo>
                  <a:lnTo>
                    <a:pt x="100" y="30"/>
                  </a:lnTo>
                  <a:lnTo>
                    <a:pt x="84" y="24"/>
                  </a:lnTo>
                  <a:lnTo>
                    <a:pt x="78" y="26"/>
                  </a:lnTo>
                  <a:lnTo>
                    <a:pt x="74" y="40"/>
                  </a:lnTo>
                  <a:lnTo>
                    <a:pt x="76" y="46"/>
                  </a:lnTo>
                  <a:lnTo>
                    <a:pt x="72" y="48"/>
                  </a:lnTo>
                  <a:lnTo>
                    <a:pt x="64" y="52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52" y="80"/>
                  </a:lnTo>
                  <a:lnTo>
                    <a:pt x="62" y="92"/>
                  </a:lnTo>
                  <a:lnTo>
                    <a:pt x="66" y="90"/>
                  </a:lnTo>
                  <a:lnTo>
                    <a:pt x="82" y="7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51" name="Freeform 45"/>
            <p:cNvSpPr>
              <a:spLocks/>
            </p:cNvSpPr>
            <p:nvPr/>
          </p:nvSpPr>
          <p:spPr bwMode="auto">
            <a:xfrm>
              <a:off x="1839921" y="2098698"/>
              <a:ext cx="72948" cy="94460"/>
            </a:xfrm>
            <a:custGeom>
              <a:avLst/>
              <a:gdLst>
                <a:gd name="T0" fmla="*/ 8 w 106"/>
                <a:gd name="T1" fmla="*/ 110 h 130"/>
                <a:gd name="T2" fmla="*/ 14 w 106"/>
                <a:gd name="T3" fmla="*/ 120 h 130"/>
                <a:gd name="T4" fmla="*/ 24 w 106"/>
                <a:gd name="T5" fmla="*/ 120 h 130"/>
                <a:gd name="T6" fmla="*/ 36 w 106"/>
                <a:gd name="T7" fmla="*/ 122 h 130"/>
                <a:gd name="T8" fmla="*/ 44 w 106"/>
                <a:gd name="T9" fmla="*/ 130 h 130"/>
                <a:gd name="T10" fmla="*/ 52 w 106"/>
                <a:gd name="T11" fmla="*/ 130 h 130"/>
                <a:gd name="T12" fmla="*/ 46 w 106"/>
                <a:gd name="T13" fmla="*/ 122 h 130"/>
                <a:gd name="T14" fmla="*/ 52 w 106"/>
                <a:gd name="T15" fmla="*/ 110 h 130"/>
                <a:gd name="T16" fmla="*/ 56 w 106"/>
                <a:gd name="T17" fmla="*/ 98 h 130"/>
                <a:gd name="T18" fmla="*/ 60 w 106"/>
                <a:gd name="T19" fmla="*/ 84 h 130"/>
                <a:gd name="T20" fmla="*/ 72 w 106"/>
                <a:gd name="T21" fmla="*/ 76 h 130"/>
                <a:gd name="T22" fmla="*/ 82 w 106"/>
                <a:gd name="T23" fmla="*/ 70 h 130"/>
                <a:gd name="T24" fmla="*/ 82 w 106"/>
                <a:gd name="T25" fmla="*/ 62 h 130"/>
                <a:gd name="T26" fmla="*/ 82 w 106"/>
                <a:gd name="T27" fmla="*/ 50 h 130"/>
                <a:gd name="T28" fmla="*/ 84 w 106"/>
                <a:gd name="T29" fmla="*/ 44 h 130"/>
                <a:gd name="T30" fmla="*/ 94 w 106"/>
                <a:gd name="T31" fmla="*/ 42 h 130"/>
                <a:gd name="T32" fmla="*/ 98 w 106"/>
                <a:gd name="T33" fmla="*/ 46 h 130"/>
                <a:gd name="T34" fmla="*/ 106 w 106"/>
                <a:gd name="T35" fmla="*/ 36 h 130"/>
                <a:gd name="T36" fmla="*/ 104 w 106"/>
                <a:gd name="T37" fmla="*/ 28 h 130"/>
                <a:gd name="T38" fmla="*/ 98 w 106"/>
                <a:gd name="T39" fmla="*/ 26 h 130"/>
                <a:gd name="T40" fmla="*/ 88 w 106"/>
                <a:gd name="T41" fmla="*/ 26 h 130"/>
                <a:gd name="T42" fmla="*/ 84 w 106"/>
                <a:gd name="T43" fmla="*/ 26 h 130"/>
                <a:gd name="T44" fmla="*/ 82 w 106"/>
                <a:gd name="T45" fmla="*/ 14 h 130"/>
                <a:gd name="T46" fmla="*/ 82 w 106"/>
                <a:gd name="T47" fmla="*/ 4 h 130"/>
                <a:gd name="T48" fmla="*/ 76 w 106"/>
                <a:gd name="T49" fmla="*/ 0 h 130"/>
                <a:gd name="T50" fmla="*/ 72 w 106"/>
                <a:gd name="T51" fmla="*/ 4 h 130"/>
                <a:gd name="T52" fmla="*/ 56 w 106"/>
                <a:gd name="T53" fmla="*/ 2 h 130"/>
                <a:gd name="T54" fmla="*/ 52 w 106"/>
                <a:gd name="T55" fmla="*/ 6 h 130"/>
                <a:gd name="T56" fmla="*/ 56 w 106"/>
                <a:gd name="T57" fmla="*/ 16 h 130"/>
                <a:gd name="T58" fmla="*/ 56 w 106"/>
                <a:gd name="T59" fmla="*/ 26 h 130"/>
                <a:gd name="T60" fmla="*/ 48 w 106"/>
                <a:gd name="T61" fmla="*/ 20 h 130"/>
                <a:gd name="T62" fmla="*/ 46 w 106"/>
                <a:gd name="T63" fmla="*/ 12 h 130"/>
                <a:gd name="T64" fmla="*/ 36 w 106"/>
                <a:gd name="T65" fmla="*/ 14 h 130"/>
                <a:gd name="T66" fmla="*/ 32 w 106"/>
                <a:gd name="T67" fmla="*/ 20 h 130"/>
                <a:gd name="T68" fmla="*/ 30 w 106"/>
                <a:gd name="T69" fmla="*/ 24 h 130"/>
                <a:gd name="T70" fmla="*/ 30 w 106"/>
                <a:gd name="T71" fmla="*/ 32 h 130"/>
                <a:gd name="T72" fmla="*/ 28 w 106"/>
                <a:gd name="T73" fmla="*/ 32 h 130"/>
                <a:gd name="T74" fmla="*/ 20 w 106"/>
                <a:gd name="T75" fmla="*/ 20 h 130"/>
                <a:gd name="T76" fmla="*/ 16 w 106"/>
                <a:gd name="T77" fmla="*/ 14 h 130"/>
                <a:gd name="T78" fmla="*/ 10 w 106"/>
                <a:gd name="T79" fmla="*/ 18 h 130"/>
                <a:gd name="T80" fmla="*/ 12 w 106"/>
                <a:gd name="T81" fmla="*/ 24 h 130"/>
                <a:gd name="T82" fmla="*/ 12 w 106"/>
                <a:gd name="T83" fmla="*/ 28 h 130"/>
                <a:gd name="T84" fmla="*/ 4 w 106"/>
                <a:gd name="T85" fmla="*/ 32 h 130"/>
                <a:gd name="T86" fmla="*/ 4 w 106"/>
                <a:gd name="T87" fmla="*/ 40 h 130"/>
                <a:gd name="T88" fmla="*/ 10 w 106"/>
                <a:gd name="T89" fmla="*/ 50 h 130"/>
                <a:gd name="T90" fmla="*/ 10 w 106"/>
                <a:gd name="T91" fmla="*/ 56 h 130"/>
                <a:gd name="T92" fmla="*/ 8 w 106"/>
                <a:gd name="T93" fmla="*/ 62 h 130"/>
                <a:gd name="T94" fmla="*/ 0 w 106"/>
                <a:gd name="T95" fmla="*/ 70 h 130"/>
                <a:gd name="T96" fmla="*/ 0 w 106"/>
                <a:gd name="T97" fmla="*/ 76 h 130"/>
                <a:gd name="T98" fmla="*/ 8 w 106"/>
                <a:gd name="T99" fmla="*/ 84 h 130"/>
                <a:gd name="T100" fmla="*/ 12 w 106"/>
                <a:gd name="T101" fmla="*/ 90 h 130"/>
                <a:gd name="T102" fmla="*/ 10 w 106"/>
                <a:gd name="T103" fmla="*/ 102 h 130"/>
                <a:gd name="T104" fmla="*/ 8 w 106"/>
                <a:gd name="T105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30">
                  <a:moveTo>
                    <a:pt x="8" y="110"/>
                  </a:moveTo>
                  <a:lnTo>
                    <a:pt x="14" y="120"/>
                  </a:lnTo>
                  <a:lnTo>
                    <a:pt x="24" y="120"/>
                  </a:lnTo>
                  <a:lnTo>
                    <a:pt x="36" y="122"/>
                  </a:lnTo>
                  <a:lnTo>
                    <a:pt x="44" y="130"/>
                  </a:lnTo>
                  <a:lnTo>
                    <a:pt x="52" y="130"/>
                  </a:lnTo>
                  <a:lnTo>
                    <a:pt x="46" y="122"/>
                  </a:lnTo>
                  <a:lnTo>
                    <a:pt x="52" y="110"/>
                  </a:lnTo>
                  <a:lnTo>
                    <a:pt x="56" y="98"/>
                  </a:lnTo>
                  <a:lnTo>
                    <a:pt x="60" y="84"/>
                  </a:lnTo>
                  <a:lnTo>
                    <a:pt x="72" y="76"/>
                  </a:lnTo>
                  <a:lnTo>
                    <a:pt x="82" y="70"/>
                  </a:lnTo>
                  <a:lnTo>
                    <a:pt x="82" y="62"/>
                  </a:lnTo>
                  <a:lnTo>
                    <a:pt x="82" y="50"/>
                  </a:lnTo>
                  <a:lnTo>
                    <a:pt x="84" y="44"/>
                  </a:lnTo>
                  <a:lnTo>
                    <a:pt x="94" y="42"/>
                  </a:lnTo>
                  <a:lnTo>
                    <a:pt x="98" y="46"/>
                  </a:lnTo>
                  <a:lnTo>
                    <a:pt x="106" y="36"/>
                  </a:lnTo>
                  <a:lnTo>
                    <a:pt x="104" y="28"/>
                  </a:lnTo>
                  <a:lnTo>
                    <a:pt x="98" y="26"/>
                  </a:lnTo>
                  <a:lnTo>
                    <a:pt x="88" y="26"/>
                  </a:lnTo>
                  <a:lnTo>
                    <a:pt x="84" y="26"/>
                  </a:lnTo>
                  <a:lnTo>
                    <a:pt x="82" y="14"/>
                  </a:lnTo>
                  <a:lnTo>
                    <a:pt x="82" y="4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56" y="2"/>
                  </a:lnTo>
                  <a:lnTo>
                    <a:pt x="52" y="6"/>
                  </a:lnTo>
                  <a:lnTo>
                    <a:pt x="56" y="16"/>
                  </a:lnTo>
                  <a:lnTo>
                    <a:pt x="56" y="26"/>
                  </a:lnTo>
                  <a:lnTo>
                    <a:pt x="48" y="20"/>
                  </a:lnTo>
                  <a:lnTo>
                    <a:pt x="46" y="12"/>
                  </a:lnTo>
                  <a:lnTo>
                    <a:pt x="36" y="14"/>
                  </a:lnTo>
                  <a:lnTo>
                    <a:pt x="32" y="20"/>
                  </a:lnTo>
                  <a:lnTo>
                    <a:pt x="30" y="24"/>
                  </a:lnTo>
                  <a:lnTo>
                    <a:pt x="30" y="32"/>
                  </a:lnTo>
                  <a:lnTo>
                    <a:pt x="28" y="32"/>
                  </a:lnTo>
                  <a:lnTo>
                    <a:pt x="20" y="20"/>
                  </a:lnTo>
                  <a:lnTo>
                    <a:pt x="16" y="14"/>
                  </a:lnTo>
                  <a:lnTo>
                    <a:pt x="10" y="1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4" y="32"/>
                  </a:lnTo>
                  <a:lnTo>
                    <a:pt x="4" y="40"/>
                  </a:lnTo>
                  <a:lnTo>
                    <a:pt x="10" y="50"/>
                  </a:lnTo>
                  <a:lnTo>
                    <a:pt x="10" y="56"/>
                  </a:lnTo>
                  <a:lnTo>
                    <a:pt x="8" y="62"/>
                  </a:lnTo>
                  <a:lnTo>
                    <a:pt x="0" y="70"/>
                  </a:lnTo>
                  <a:lnTo>
                    <a:pt x="0" y="76"/>
                  </a:lnTo>
                  <a:lnTo>
                    <a:pt x="8" y="84"/>
                  </a:lnTo>
                  <a:lnTo>
                    <a:pt x="12" y="90"/>
                  </a:lnTo>
                  <a:lnTo>
                    <a:pt x="10" y="102"/>
                  </a:lnTo>
                  <a:lnTo>
                    <a:pt x="8" y="11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52" name="Freeform 46"/>
            <p:cNvSpPr>
              <a:spLocks/>
            </p:cNvSpPr>
            <p:nvPr/>
          </p:nvSpPr>
          <p:spPr bwMode="auto">
            <a:xfrm>
              <a:off x="1839921" y="2098698"/>
              <a:ext cx="72948" cy="94460"/>
            </a:xfrm>
            <a:custGeom>
              <a:avLst/>
              <a:gdLst>
                <a:gd name="T0" fmla="*/ 8 w 106"/>
                <a:gd name="T1" fmla="*/ 110 h 130"/>
                <a:gd name="T2" fmla="*/ 14 w 106"/>
                <a:gd name="T3" fmla="*/ 120 h 130"/>
                <a:gd name="T4" fmla="*/ 24 w 106"/>
                <a:gd name="T5" fmla="*/ 120 h 130"/>
                <a:gd name="T6" fmla="*/ 36 w 106"/>
                <a:gd name="T7" fmla="*/ 122 h 130"/>
                <a:gd name="T8" fmla="*/ 44 w 106"/>
                <a:gd name="T9" fmla="*/ 130 h 130"/>
                <a:gd name="T10" fmla="*/ 52 w 106"/>
                <a:gd name="T11" fmla="*/ 130 h 130"/>
                <a:gd name="T12" fmla="*/ 46 w 106"/>
                <a:gd name="T13" fmla="*/ 122 h 130"/>
                <a:gd name="T14" fmla="*/ 52 w 106"/>
                <a:gd name="T15" fmla="*/ 110 h 130"/>
                <a:gd name="T16" fmla="*/ 56 w 106"/>
                <a:gd name="T17" fmla="*/ 98 h 130"/>
                <a:gd name="T18" fmla="*/ 60 w 106"/>
                <a:gd name="T19" fmla="*/ 84 h 130"/>
                <a:gd name="T20" fmla="*/ 72 w 106"/>
                <a:gd name="T21" fmla="*/ 76 h 130"/>
                <a:gd name="T22" fmla="*/ 82 w 106"/>
                <a:gd name="T23" fmla="*/ 70 h 130"/>
                <a:gd name="T24" fmla="*/ 82 w 106"/>
                <a:gd name="T25" fmla="*/ 62 h 130"/>
                <a:gd name="T26" fmla="*/ 82 w 106"/>
                <a:gd name="T27" fmla="*/ 50 h 130"/>
                <a:gd name="T28" fmla="*/ 84 w 106"/>
                <a:gd name="T29" fmla="*/ 44 h 130"/>
                <a:gd name="T30" fmla="*/ 94 w 106"/>
                <a:gd name="T31" fmla="*/ 42 h 130"/>
                <a:gd name="T32" fmla="*/ 98 w 106"/>
                <a:gd name="T33" fmla="*/ 46 h 130"/>
                <a:gd name="T34" fmla="*/ 106 w 106"/>
                <a:gd name="T35" fmla="*/ 36 h 130"/>
                <a:gd name="T36" fmla="*/ 104 w 106"/>
                <a:gd name="T37" fmla="*/ 28 h 130"/>
                <a:gd name="T38" fmla="*/ 98 w 106"/>
                <a:gd name="T39" fmla="*/ 26 h 130"/>
                <a:gd name="T40" fmla="*/ 88 w 106"/>
                <a:gd name="T41" fmla="*/ 26 h 130"/>
                <a:gd name="T42" fmla="*/ 84 w 106"/>
                <a:gd name="T43" fmla="*/ 26 h 130"/>
                <a:gd name="T44" fmla="*/ 82 w 106"/>
                <a:gd name="T45" fmla="*/ 14 h 130"/>
                <a:gd name="T46" fmla="*/ 82 w 106"/>
                <a:gd name="T47" fmla="*/ 4 h 130"/>
                <a:gd name="T48" fmla="*/ 76 w 106"/>
                <a:gd name="T49" fmla="*/ 0 h 130"/>
                <a:gd name="T50" fmla="*/ 72 w 106"/>
                <a:gd name="T51" fmla="*/ 4 h 130"/>
                <a:gd name="T52" fmla="*/ 56 w 106"/>
                <a:gd name="T53" fmla="*/ 2 h 130"/>
                <a:gd name="T54" fmla="*/ 52 w 106"/>
                <a:gd name="T55" fmla="*/ 6 h 130"/>
                <a:gd name="T56" fmla="*/ 56 w 106"/>
                <a:gd name="T57" fmla="*/ 16 h 130"/>
                <a:gd name="T58" fmla="*/ 56 w 106"/>
                <a:gd name="T59" fmla="*/ 26 h 130"/>
                <a:gd name="T60" fmla="*/ 48 w 106"/>
                <a:gd name="T61" fmla="*/ 20 h 130"/>
                <a:gd name="T62" fmla="*/ 46 w 106"/>
                <a:gd name="T63" fmla="*/ 12 h 130"/>
                <a:gd name="T64" fmla="*/ 36 w 106"/>
                <a:gd name="T65" fmla="*/ 14 h 130"/>
                <a:gd name="T66" fmla="*/ 32 w 106"/>
                <a:gd name="T67" fmla="*/ 20 h 130"/>
                <a:gd name="T68" fmla="*/ 30 w 106"/>
                <a:gd name="T69" fmla="*/ 24 h 130"/>
                <a:gd name="T70" fmla="*/ 30 w 106"/>
                <a:gd name="T71" fmla="*/ 32 h 130"/>
                <a:gd name="T72" fmla="*/ 28 w 106"/>
                <a:gd name="T73" fmla="*/ 32 h 130"/>
                <a:gd name="T74" fmla="*/ 20 w 106"/>
                <a:gd name="T75" fmla="*/ 20 h 130"/>
                <a:gd name="T76" fmla="*/ 16 w 106"/>
                <a:gd name="T77" fmla="*/ 14 h 130"/>
                <a:gd name="T78" fmla="*/ 10 w 106"/>
                <a:gd name="T79" fmla="*/ 18 h 130"/>
                <a:gd name="T80" fmla="*/ 12 w 106"/>
                <a:gd name="T81" fmla="*/ 24 h 130"/>
                <a:gd name="T82" fmla="*/ 12 w 106"/>
                <a:gd name="T83" fmla="*/ 28 h 130"/>
                <a:gd name="T84" fmla="*/ 4 w 106"/>
                <a:gd name="T85" fmla="*/ 32 h 130"/>
                <a:gd name="T86" fmla="*/ 4 w 106"/>
                <a:gd name="T87" fmla="*/ 40 h 130"/>
                <a:gd name="T88" fmla="*/ 10 w 106"/>
                <a:gd name="T89" fmla="*/ 50 h 130"/>
                <a:gd name="T90" fmla="*/ 10 w 106"/>
                <a:gd name="T91" fmla="*/ 56 h 130"/>
                <a:gd name="T92" fmla="*/ 8 w 106"/>
                <a:gd name="T93" fmla="*/ 62 h 130"/>
                <a:gd name="T94" fmla="*/ 0 w 106"/>
                <a:gd name="T95" fmla="*/ 70 h 130"/>
                <a:gd name="T96" fmla="*/ 0 w 106"/>
                <a:gd name="T97" fmla="*/ 76 h 130"/>
                <a:gd name="T98" fmla="*/ 8 w 106"/>
                <a:gd name="T99" fmla="*/ 84 h 130"/>
                <a:gd name="T100" fmla="*/ 12 w 106"/>
                <a:gd name="T101" fmla="*/ 90 h 130"/>
                <a:gd name="T102" fmla="*/ 10 w 106"/>
                <a:gd name="T103" fmla="*/ 102 h 130"/>
                <a:gd name="T104" fmla="*/ 8 w 106"/>
                <a:gd name="T105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30">
                  <a:moveTo>
                    <a:pt x="8" y="110"/>
                  </a:moveTo>
                  <a:lnTo>
                    <a:pt x="14" y="120"/>
                  </a:lnTo>
                  <a:lnTo>
                    <a:pt x="24" y="120"/>
                  </a:lnTo>
                  <a:lnTo>
                    <a:pt x="36" y="122"/>
                  </a:lnTo>
                  <a:lnTo>
                    <a:pt x="44" y="130"/>
                  </a:lnTo>
                  <a:lnTo>
                    <a:pt x="52" y="130"/>
                  </a:lnTo>
                  <a:lnTo>
                    <a:pt x="46" y="122"/>
                  </a:lnTo>
                  <a:lnTo>
                    <a:pt x="52" y="110"/>
                  </a:lnTo>
                  <a:lnTo>
                    <a:pt x="56" y="98"/>
                  </a:lnTo>
                  <a:lnTo>
                    <a:pt x="60" y="84"/>
                  </a:lnTo>
                  <a:lnTo>
                    <a:pt x="72" y="76"/>
                  </a:lnTo>
                  <a:lnTo>
                    <a:pt x="82" y="70"/>
                  </a:lnTo>
                  <a:lnTo>
                    <a:pt x="82" y="62"/>
                  </a:lnTo>
                  <a:lnTo>
                    <a:pt x="82" y="50"/>
                  </a:lnTo>
                  <a:lnTo>
                    <a:pt x="84" y="44"/>
                  </a:lnTo>
                  <a:lnTo>
                    <a:pt x="94" y="42"/>
                  </a:lnTo>
                  <a:lnTo>
                    <a:pt x="98" y="46"/>
                  </a:lnTo>
                  <a:lnTo>
                    <a:pt x="106" y="36"/>
                  </a:lnTo>
                  <a:lnTo>
                    <a:pt x="104" y="28"/>
                  </a:lnTo>
                  <a:lnTo>
                    <a:pt x="98" y="26"/>
                  </a:lnTo>
                  <a:lnTo>
                    <a:pt x="88" y="26"/>
                  </a:lnTo>
                  <a:lnTo>
                    <a:pt x="84" y="26"/>
                  </a:lnTo>
                  <a:lnTo>
                    <a:pt x="82" y="14"/>
                  </a:lnTo>
                  <a:lnTo>
                    <a:pt x="82" y="4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56" y="2"/>
                  </a:lnTo>
                  <a:lnTo>
                    <a:pt x="52" y="6"/>
                  </a:lnTo>
                  <a:lnTo>
                    <a:pt x="56" y="16"/>
                  </a:lnTo>
                  <a:lnTo>
                    <a:pt x="56" y="26"/>
                  </a:lnTo>
                  <a:lnTo>
                    <a:pt x="48" y="20"/>
                  </a:lnTo>
                  <a:lnTo>
                    <a:pt x="46" y="12"/>
                  </a:lnTo>
                  <a:lnTo>
                    <a:pt x="36" y="14"/>
                  </a:lnTo>
                  <a:lnTo>
                    <a:pt x="32" y="20"/>
                  </a:lnTo>
                  <a:lnTo>
                    <a:pt x="30" y="24"/>
                  </a:lnTo>
                  <a:lnTo>
                    <a:pt x="30" y="32"/>
                  </a:lnTo>
                  <a:lnTo>
                    <a:pt x="28" y="32"/>
                  </a:lnTo>
                  <a:lnTo>
                    <a:pt x="20" y="20"/>
                  </a:lnTo>
                  <a:lnTo>
                    <a:pt x="16" y="14"/>
                  </a:lnTo>
                  <a:lnTo>
                    <a:pt x="10" y="1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4" y="32"/>
                  </a:lnTo>
                  <a:lnTo>
                    <a:pt x="4" y="40"/>
                  </a:lnTo>
                  <a:lnTo>
                    <a:pt x="10" y="50"/>
                  </a:lnTo>
                  <a:lnTo>
                    <a:pt x="10" y="56"/>
                  </a:lnTo>
                  <a:lnTo>
                    <a:pt x="8" y="62"/>
                  </a:lnTo>
                  <a:lnTo>
                    <a:pt x="0" y="70"/>
                  </a:lnTo>
                  <a:lnTo>
                    <a:pt x="0" y="76"/>
                  </a:lnTo>
                  <a:lnTo>
                    <a:pt x="8" y="84"/>
                  </a:lnTo>
                  <a:lnTo>
                    <a:pt x="12" y="90"/>
                  </a:lnTo>
                  <a:lnTo>
                    <a:pt x="10" y="102"/>
                  </a:lnTo>
                  <a:lnTo>
                    <a:pt x="8" y="11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53" name="Freeform 47"/>
            <p:cNvSpPr>
              <a:spLocks/>
            </p:cNvSpPr>
            <p:nvPr/>
          </p:nvSpPr>
          <p:spPr bwMode="auto">
            <a:xfrm>
              <a:off x="1855061" y="2069633"/>
              <a:ext cx="55055" cy="36331"/>
            </a:xfrm>
            <a:custGeom>
              <a:avLst/>
              <a:gdLst>
                <a:gd name="T0" fmla="*/ 0 w 80"/>
                <a:gd name="T1" fmla="*/ 48 h 50"/>
                <a:gd name="T2" fmla="*/ 6 w 80"/>
                <a:gd name="T3" fmla="*/ 50 h 50"/>
                <a:gd name="T4" fmla="*/ 14 w 80"/>
                <a:gd name="T5" fmla="*/ 44 h 50"/>
                <a:gd name="T6" fmla="*/ 22 w 80"/>
                <a:gd name="T7" fmla="*/ 34 h 50"/>
                <a:gd name="T8" fmla="*/ 44 w 80"/>
                <a:gd name="T9" fmla="*/ 34 h 50"/>
                <a:gd name="T10" fmla="*/ 64 w 80"/>
                <a:gd name="T11" fmla="*/ 30 h 50"/>
                <a:gd name="T12" fmla="*/ 74 w 80"/>
                <a:gd name="T13" fmla="*/ 22 h 50"/>
                <a:gd name="T14" fmla="*/ 78 w 80"/>
                <a:gd name="T15" fmla="*/ 12 h 50"/>
                <a:gd name="T16" fmla="*/ 80 w 80"/>
                <a:gd name="T17" fmla="*/ 0 h 50"/>
                <a:gd name="T18" fmla="*/ 66 w 80"/>
                <a:gd name="T19" fmla="*/ 6 h 50"/>
                <a:gd name="T20" fmla="*/ 38 w 80"/>
                <a:gd name="T21" fmla="*/ 20 h 50"/>
                <a:gd name="T22" fmla="*/ 30 w 80"/>
                <a:gd name="T23" fmla="*/ 20 h 50"/>
                <a:gd name="T24" fmla="*/ 22 w 80"/>
                <a:gd name="T25" fmla="*/ 26 h 50"/>
                <a:gd name="T26" fmla="*/ 6 w 80"/>
                <a:gd name="T27" fmla="*/ 30 h 50"/>
                <a:gd name="T28" fmla="*/ 0 w 80"/>
                <a:gd name="T29" fmla="*/ 32 h 50"/>
                <a:gd name="T30" fmla="*/ 0 w 80"/>
                <a:gd name="T31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" h="50">
                  <a:moveTo>
                    <a:pt x="0" y="48"/>
                  </a:moveTo>
                  <a:lnTo>
                    <a:pt x="6" y="50"/>
                  </a:lnTo>
                  <a:lnTo>
                    <a:pt x="14" y="44"/>
                  </a:lnTo>
                  <a:lnTo>
                    <a:pt x="22" y="34"/>
                  </a:lnTo>
                  <a:lnTo>
                    <a:pt x="44" y="34"/>
                  </a:lnTo>
                  <a:lnTo>
                    <a:pt x="64" y="30"/>
                  </a:lnTo>
                  <a:lnTo>
                    <a:pt x="74" y="22"/>
                  </a:lnTo>
                  <a:lnTo>
                    <a:pt x="78" y="12"/>
                  </a:lnTo>
                  <a:lnTo>
                    <a:pt x="80" y="0"/>
                  </a:lnTo>
                  <a:lnTo>
                    <a:pt x="66" y="6"/>
                  </a:lnTo>
                  <a:lnTo>
                    <a:pt x="38" y="20"/>
                  </a:lnTo>
                  <a:lnTo>
                    <a:pt x="30" y="20"/>
                  </a:lnTo>
                  <a:lnTo>
                    <a:pt x="22" y="26"/>
                  </a:lnTo>
                  <a:lnTo>
                    <a:pt x="6" y="30"/>
                  </a:lnTo>
                  <a:lnTo>
                    <a:pt x="0" y="3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54" name="Freeform 48"/>
            <p:cNvSpPr>
              <a:spLocks/>
            </p:cNvSpPr>
            <p:nvPr/>
          </p:nvSpPr>
          <p:spPr bwMode="auto">
            <a:xfrm>
              <a:off x="1855061" y="2069633"/>
              <a:ext cx="55055" cy="36331"/>
            </a:xfrm>
            <a:custGeom>
              <a:avLst/>
              <a:gdLst>
                <a:gd name="T0" fmla="*/ 0 w 80"/>
                <a:gd name="T1" fmla="*/ 48 h 50"/>
                <a:gd name="T2" fmla="*/ 6 w 80"/>
                <a:gd name="T3" fmla="*/ 50 h 50"/>
                <a:gd name="T4" fmla="*/ 14 w 80"/>
                <a:gd name="T5" fmla="*/ 44 h 50"/>
                <a:gd name="T6" fmla="*/ 22 w 80"/>
                <a:gd name="T7" fmla="*/ 34 h 50"/>
                <a:gd name="T8" fmla="*/ 44 w 80"/>
                <a:gd name="T9" fmla="*/ 34 h 50"/>
                <a:gd name="T10" fmla="*/ 64 w 80"/>
                <a:gd name="T11" fmla="*/ 30 h 50"/>
                <a:gd name="T12" fmla="*/ 74 w 80"/>
                <a:gd name="T13" fmla="*/ 22 h 50"/>
                <a:gd name="T14" fmla="*/ 78 w 80"/>
                <a:gd name="T15" fmla="*/ 12 h 50"/>
                <a:gd name="T16" fmla="*/ 80 w 80"/>
                <a:gd name="T17" fmla="*/ 0 h 50"/>
                <a:gd name="T18" fmla="*/ 66 w 80"/>
                <a:gd name="T19" fmla="*/ 6 h 50"/>
                <a:gd name="T20" fmla="*/ 38 w 80"/>
                <a:gd name="T21" fmla="*/ 20 h 50"/>
                <a:gd name="T22" fmla="*/ 30 w 80"/>
                <a:gd name="T23" fmla="*/ 20 h 50"/>
                <a:gd name="T24" fmla="*/ 22 w 80"/>
                <a:gd name="T25" fmla="*/ 26 h 50"/>
                <a:gd name="T26" fmla="*/ 6 w 80"/>
                <a:gd name="T27" fmla="*/ 30 h 50"/>
                <a:gd name="T28" fmla="*/ 0 w 80"/>
                <a:gd name="T29" fmla="*/ 32 h 50"/>
                <a:gd name="T30" fmla="*/ 0 w 80"/>
                <a:gd name="T31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" h="50">
                  <a:moveTo>
                    <a:pt x="0" y="48"/>
                  </a:moveTo>
                  <a:lnTo>
                    <a:pt x="6" y="50"/>
                  </a:lnTo>
                  <a:lnTo>
                    <a:pt x="14" y="44"/>
                  </a:lnTo>
                  <a:lnTo>
                    <a:pt x="22" y="34"/>
                  </a:lnTo>
                  <a:lnTo>
                    <a:pt x="44" y="34"/>
                  </a:lnTo>
                  <a:lnTo>
                    <a:pt x="64" y="30"/>
                  </a:lnTo>
                  <a:lnTo>
                    <a:pt x="74" y="22"/>
                  </a:lnTo>
                  <a:lnTo>
                    <a:pt x="78" y="12"/>
                  </a:lnTo>
                  <a:lnTo>
                    <a:pt x="80" y="0"/>
                  </a:lnTo>
                  <a:lnTo>
                    <a:pt x="66" y="6"/>
                  </a:lnTo>
                  <a:lnTo>
                    <a:pt x="38" y="20"/>
                  </a:lnTo>
                  <a:lnTo>
                    <a:pt x="30" y="20"/>
                  </a:lnTo>
                  <a:lnTo>
                    <a:pt x="22" y="26"/>
                  </a:lnTo>
                  <a:lnTo>
                    <a:pt x="6" y="30"/>
                  </a:lnTo>
                  <a:lnTo>
                    <a:pt x="0" y="3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55" name="Freeform 49"/>
            <p:cNvSpPr>
              <a:spLocks/>
            </p:cNvSpPr>
            <p:nvPr/>
          </p:nvSpPr>
          <p:spPr bwMode="auto">
            <a:xfrm>
              <a:off x="1883965" y="2156827"/>
              <a:ext cx="23398" cy="30518"/>
            </a:xfrm>
            <a:custGeom>
              <a:avLst/>
              <a:gdLst>
                <a:gd name="T0" fmla="*/ 10 w 34"/>
                <a:gd name="T1" fmla="*/ 0 h 42"/>
                <a:gd name="T2" fmla="*/ 32 w 34"/>
                <a:gd name="T3" fmla="*/ 14 h 42"/>
                <a:gd name="T4" fmla="*/ 34 w 34"/>
                <a:gd name="T5" fmla="*/ 22 h 42"/>
                <a:gd name="T6" fmla="*/ 26 w 34"/>
                <a:gd name="T7" fmla="*/ 30 h 42"/>
                <a:gd name="T8" fmla="*/ 18 w 34"/>
                <a:gd name="T9" fmla="*/ 34 h 42"/>
                <a:gd name="T10" fmla="*/ 20 w 34"/>
                <a:gd name="T11" fmla="*/ 42 h 42"/>
                <a:gd name="T12" fmla="*/ 10 w 34"/>
                <a:gd name="T13" fmla="*/ 40 h 42"/>
                <a:gd name="T14" fmla="*/ 0 w 34"/>
                <a:gd name="T15" fmla="*/ 30 h 42"/>
                <a:gd name="T16" fmla="*/ 0 w 34"/>
                <a:gd name="T17" fmla="*/ 22 h 42"/>
                <a:gd name="T18" fmla="*/ 4 w 34"/>
                <a:gd name="T19" fmla="*/ 12 h 42"/>
                <a:gd name="T20" fmla="*/ 10 w 34"/>
                <a:gd name="T2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42">
                  <a:moveTo>
                    <a:pt x="10" y="0"/>
                  </a:moveTo>
                  <a:lnTo>
                    <a:pt x="32" y="14"/>
                  </a:lnTo>
                  <a:lnTo>
                    <a:pt x="34" y="22"/>
                  </a:lnTo>
                  <a:lnTo>
                    <a:pt x="26" y="30"/>
                  </a:lnTo>
                  <a:lnTo>
                    <a:pt x="18" y="34"/>
                  </a:lnTo>
                  <a:lnTo>
                    <a:pt x="20" y="42"/>
                  </a:lnTo>
                  <a:lnTo>
                    <a:pt x="10" y="40"/>
                  </a:lnTo>
                  <a:lnTo>
                    <a:pt x="0" y="30"/>
                  </a:lnTo>
                  <a:lnTo>
                    <a:pt x="0" y="22"/>
                  </a:lnTo>
                  <a:lnTo>
                    <a:pt x="4" y="1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56" name="Freeform 50"/>
            <p:cNvSpPr>
              <a:spLocks/>
            </p:cNvSpPr>
            <p:nvPr/>
          </p:nvSpPr>
          <p:spPr bwMode="auto">
            <a:xfrm>
              <a:off x="1883965" y="2156827"/>
              <a:ext cx="23398" cy="30518"/>
            </a:xfrm>
            <a:custGeom>
              <a:avLst/>
              <a:gdLst>
                <a:gd name="T0" fmla="*/ 10 w 34"/>
                <a:gd name="T1" fmla="*/ 0 h 42"/>
                <a:gd name="T2" fmla="*/ 32 w 34"/>
                <a:gd name="T3" fmla="*/ 14 h 42"/>
                <a:gd name="T4" fmla="*/ 34 w 34"/>
                <a:gd name="T5" fmla="*/ 22 h 42"/>
                <a:gd name="T6" fmla="*/ 26 w 34"/>
                <a:gd name="T7" fmla="*/ 30 h 42"/>
                <a:gd name="T8" fmla="*/ 18 w 34"/>
                <a:gd name="T9" fmla="*/ 34 h 42"/>
                <a:gd name="T10" fmla="*/ 20 w 34"/>
                <a:gd name="T11" fmla="*/ 42 h 42"/>
                <a:gd name="T12" fmla="*/ 10 w 34"/>
                <a:gd name="T13" fmla="*/ 40 h 42"/>
                <a:gd name="T14" fmla="*/ 0 w 34"/>
                <a:gd name="T15" fmla="*/ 30 h 42"/>
                <a:gd name="T16" fmla="*/ 0 w 34"/>
                <a:gd name="T17" fmla="*/ 22 h 42"/>
                <a:gd name="T18" fmla="*/ 4 w 34"/>
                <a:gd name="T19" fmla="*/ 12 h 42"/>
                <a:gd name="T20" fmla="*/ 10 w 34"/>
                <a:gd name="T2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42">
                  <a:moveTo>
                    <a:pt x="10" y="0"/>
                  </a:moveTo>
                  <a:lnTo>
                    <a:pt x="32" y="14"/>
                  </a:lnTo>
                  <a:lnTo>
                    <a:pt x="34" y="22"/>
                  </a:lnTo>
                  <a:lnTo>
                    <a:pt x="26" y="30"/>
                  </a:lnTo>
                  <a:lnTo>
                    <a:pt x="18" y="34"/>
                  </a:lnTo>
                  <a:lnTo>
                    <a:pt x="20" y="42"/>
                  </a:lnTo>
                  <a:lnTo>
                    <a:pt x="10" y="40"/>
                  </a:lnTo>
                  <a:lnTo>
                    <a:pt x="0" y="30"/>
                  </a:lnTo>
                  <a:lnTo>
                    <a:pt x="0" y="22"/>
                  </a:lnTo>
                  <a:lnTo>
                    <a:pt x="4" y="1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57" name="Freeform 51"/>
            <p:cNvSpPr>
              <a:spLocks/>
            </p:cNvSpPr>
            <p:nvPr/>
          </p:nvSpPr>
          <p:spPr bwMode="auto">
            <a:xfrm>
              <a:off x="1912869" y="2149560"/>
              <a:ext cx="35786" cy="43597"/>
            </a:xfrm>
            <a:custGeom>
              <a:avLst/>
              <a:gdLst>
                <a:gd name="T0" fmla="*/ 48 w 52"/>
                <a:gd name="T1" fmla="*/ 0 h 60"/>
                <a:gd name="T2" fmla="*/ 52 w 52"/>
                <a:gd name="T3" fmla="*/ 2 h 60"/>
                <a:gd name="T4" fmla="*/ 48 w 52"/>
                <a:gd name="T5" fmla="*/ 6 h 60"/>
                <a:gd name="T6" fmla="*/ 52 w 52"/>
                <a:gd name="T7" fmla="*/ 12 h 60"/>
                <a:gd name="T8" fmla="*/ 48 w 52"/>
                <a:gd name="T9" fmla="*/ 20 h 60"/>
                <a:gd name="T10" fmla="*/ 40 w 52"/>
                <a:gd name="T11" fmla="*/ 26 h 60"/>
                <a:gd name="T12" fmla="*/ 42 w 52"/>
                <a:gd name="T13" fmla="*/ 32 h 60"/>
                <a:gd name="T14" fmla="*/ 40 w 52"/>
                <a:gd name="T15" fmla="*/ 38 h 60"/>
                <a:gd name="T16" fmla="*/ 42 w 52"/>
                <a:gd name="T17" fmla="*/ 44 h 60"/>
                <a:gd name="T18" fmla="*/ 34 w 52"/>
                <a:gd name="T19" fmla="*/ 60 h 60"/>
                <a:gd name="T20" fmla="*/ 12 w 52"/>
                <a:gd name="T21" fmla="*/ 44 h 60"/>
                <a:gd name="T22" fmla="*/ 0 w 52"/>
                <a:gd name="T23" fmla="*/ 36 h 60"/>
                <a:gd name="T24" fmla="*/ 6 w 52"/>
                <a:gd name="T25" fmla="*/ 32 h 60"/>
                <a:gd name="T26" fmla="*/ 6 w 52"/>
                <a:gd name="T27" fmla="*/ 24 h 60"/>
                <a:gd name="T28" fmla="*/ 20 w 52"/>
                <a:gd name="T29" fmla="*/ 16 h 60"/>
                <a:gd name="T30" fmla="*/ 26 w 52"/>
                <a:gd name="T31" fmla="*/ 18 h 60"/>
                <a:gd name="T32" fmla="*/ 34 w 52"/>
                <a:gd name="T33" fmla="*/ 16 h 60"/>
                <a:gd name="T34" fmla="*/ 44 w 52"/>
                <a:gd name="T35" fmla="*/ 8 h 60"/>
                <a:gd name="T36" fmla="*/ 48 w 52"/>
                <a:gd name="T3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60">
                  <a:moveTo>
                    <a:pt x="48" y="0"/>
                  </a:moveTo>
                  <a:lnTo>
                    <a:pt x="52" y="2"/>
                  </a:lnTo>
                  <a:lnTo>
                    <a:pt x="48" y="6"/>
                  </a:lnTo>
                  <a:lnTo>
                    <a:pt x="52" y="12"/>
                  </a:lnTo>
                  <a:lnTo>
                    <a:pt x="48" y="20"/>
                  </a:lnTo>
                  <a:lnTo>
                    <a:pt x="40" y="26"/>
                  </a:lnTo>
                  <a:lnTo>
                    <a:pt x="42" y="32"/>
                  </a:lnTo>
                  <a:lnTo>
                    <a:pt x="40" y="38"/>
                  </a:lnTo>
                  <a:lnTo>
                    <a:pt x="42" y="44"/>
                  </a:lnTo>
                  <a:lnTo>
                    <a:pt x="34" y="60"/>
                  </a:lnTo>
                  <a:lnTo>
                    <a:pt x="12" y="44"/>
                  </a:lnTo>
                  <a:lnTo>
                    <a:pt x="0" y="36"/>
                  </a:lnTo>
                  <a:lnTo>
                    <a:pt x="6" y="32"/>
                  </a:lnTo>
                  <a:lnTo>
                    <a:pt x="6" y="24"/>
                  </a:lnTo>
                  <a:lnTo>
                    <a:pt x="20" y="16"/>
                  </a:lnTo>
                  <a:lnTo>
                    <a:pt x="26" y="18"/>
                  </a:lnTo>
                  <a:lnTo>
                    <a:pt x="34" y="16"/>
                  </a:lnTo>
                  <a:lnTo>
                    <a:pt x="44" y="8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58" name="Freeform 52"/>
            <p:cNvSpPr>
              <a:spLocks/>
            </p:cNvSpPr>
            <p:nvPr/>
          </p:nvSpPr>
          <p:spPr bwMode="auto">
            <a:xfrm>
              <a:off x="1912869" y="2149560"/>
              <a:ext cx="35786" cy="43597"/>
            </a:xfrm>
            <a:custGeom>
              <a:avLst/>
              <a:gdLst>
                <a:gd name="T0" fmla="*/ 48 w 52"/>
                <a:gd name="T1" fmla="*/ 0 h 60"/>
                <a:gd name="T2" fmla="*/ 52 w 52"/>
                <a:gd name="T3" fmla="*/ 2 h 60"/>
                <a:gd name="T4" fmla="*/ 48 w 52"/>
                <a:gd name="T5" fmla="*/ 6 h 60"/>
                <a:gd name="T6" fmla="*/ 52 w 52"/>
                <a:gd name="T7" fmla="*/ 12 h 60"/>
                <a:gd name="T8" fmla="*/ 48 w 52"/>
                <a:gd name="T9" fmla="*/ 20 h 60"/>
                <a:gd name="T10" fmla="*/ 40 w 52"/>
                <a:gd name="T11" fmla="*/ 26 h 60"/>
                <a:gd name="T12" fmla="*/ 42 w 52"/>
                <a:gd name="T13" fmla="*/ 32 h 60"/>
                <a:gd name="T14" fmla="*/ 40 w 52"/>
                <a:gd name="T15" fmla="*/ 38 h 60"/>
                <a:gd name="T16" fmla="*/ 42 w 52"/>
                <a:gd name="T17" fmla="*/ 44 h 60"/>
                <a:gd name="T18" fmla="*/ 34 w 52"/>
                <a:gd name="T19" fmla="*/ 60 h 60"/>
                <a:gd name="T20" fmla="*/ 12 w 52"/>
                <a:gd name="T21" fmla="*/ 44 h 60"/>
                <a:gd name="T22" fmla="*/ 0 w 52"/>
                <a:gd name="T23" fmla="*/ 36 h 60"/>
                <a:gd name="T24" fmla="*/ 6 w 52"/>
                <a:gd name="T25" fmla="*/ 32 h 60"/>
                <a:gd name="T26" fmla="*/ 6 w 52"/>
                <a:gd name="T27" fmla="*/ 24 h 60"/>
                <a:gd name="T28" fmla="*/ 20 w 52"/>
                <a:gd name="T29" fmla="*/ 16 h 60"/>
                <a:gd name="T30" fmla="*/ 26 w 52"/>
                <a:gd name="T31" fmla="*/ 18 h 60"/>
                <a:gd name="T32" fmla="*/ 34 w 52"/>
                <a:gd name="T33" fmla="*/ 16 h 60"/>
                <a:gd name="T34" fmla="*/ 44 w 52"/>
                <a:gd name="T35" fmla="*/ 8 h 60"/>
                <a:gd name="T36" fmla="*/ 48 w 52"/>
                <a:gd name="T3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60">
                  <a:moveTo>
                    <a:pt x="48" y="0"/>
                  </a:moveTo>
                  <a:lnTo>
                    <a:pt x="52" y="2"/>
                  </a:lnTo>
                  <a:lnTo>
                    <a:pt x="48" y="6"/>
                  </a:lnTo>
                  <a:lnTo>
                    <a:pt x="52" y="12"/>
                  </a:lnTo>
                  <a:lnTo>
                    <a:pt x="48" y="20"/>
                  </a:lnTo>
                  <a:lnTo>
                    <a:pt x="40" y="26"/>
                  </a:lnTo>
                  <a:lnTo>
                    <a:pt x="42" y="32"/>
                  </a:lnTo>
                  <a:lnTo>
                    <a:pt x="40" y="38"/>
                  </a:lnTo>
                  <a:lnTo>
                    <a:pt x="42" y="44"/>
                  </a:lnTo>
                  <a:lnTo>
                    <a:pt x="34" y="60"/>
                  </a:lnTo>
                  <a:lnTo>
                    <a:pt x="12" y="44"/>
                  </a:lnTo>
                  <a:lnTo>
                    <a:pt x="0" y="36"/>
                  </a:lnTo>
                  <a:lnTo>
                    <a:pt x="6" y="32"/>
                  </a:lnTo>
                  <a:lnTo>
                    <a:pt x="6" y="24"/>
                  </a:lnTo>
                  <a:lnTo>
                    <a:pt x="20" y="16"/>
                  </a:lnTo>
                  <a:lnTo>
                    <a:pt x="26" y="18"/>
                  </a:lnTo>
                  <a:lnTo>
                    <a:pt x="34" y="16"/>
                  </a:lnTo>
                  <a:lnTo>
                    <a:pt x="44" y="8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59" name="Freeform 53"/>
            <p:cNvSpPr>
              <a:spLocks/>
            </p:cNvSpPr>
            <p:nvPr/>
          </p:nvSpPr>
          <p:spPr bwMode="auto">
            <a:xfrm>
              <a:off x="1908740" y="2194610"/>
              <a:ext cx="13764" cy="17439"/>
            </a:xfrm>
            <a:custGeom>
              <a:avLst/>
              <a:gdLst>
                <a:gd name="T0" fmla="*/ 0 w 20"/>
                <a:gd name="T1" fmla="*/ 0 h 24"/>
                <a:gd name="T2" fmla="*/ 14 w 20"/>
                <a:gd name="T3" fmla="*/ 4 h 24"/>
                <a:gd name="T4" fmla="*/ 18 w 20"/>
                <a:gd name="T5" fmla="*/ 10 h 24"/>
                <a:gd name="T6" fmla="*/ 20 w 20"/>
                <a:gd name="T7" fmla="*/ 20 h 24"/>
                <a:gd name="T8" fmla="*/ 14 w 20"/>
                <a:gd name="T9" fmla="*/ 24 h 24"/>
                <a:gd name="T10" fmla="*/ 2 w 20"/>
                <a:gd name="T11" fmla="*/ 20 h 24"/>
                <a:gd name="T12" fmla="*/ 0 w 20"/>
                <a:gd name="T13" fmla="*/ 14 h 24"/>
                <a:gd name="T14" fmla="*/ 0 w 20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14" y="4"/>
                  </a:lnTo>
                  <a:lnTo>
                    <a:pt x="18" y="10"/>
                  </a:lnTo>
                  <a:lnTo>
                    <a:pt x="20" y="20"/>
                  </a:lnTo>
                  <a:lnTo>
                    <a:pt x="1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60" name="Freeform 54"/>
            <p:cNvSpPr>
              <a:spLocks/>
            </p:cNvSpPr>
            <p:nvPr/>
          </p:nvSpPr>
          <p:spPr bwMode="auto">
            <a:xfrm>
              <a:off x="1908740" y="2194610"/>
              <a:ext cx="13764" cy="17439"/>
            </a:xfrm>
            <a:custGeom>
              <a:avLst/>
              <a:gdLst>
                <a:gd name="T0" fmla="*/ 0 w 20"/>
                <a:gd name="T1" fmla="*/ 0 h 24"/>
                <a:gd name="T2" fmla="*/ 14 w 20"/>
                <a:gd name="T3" fmla="*/ 4 h 24"/>
                <a:gd name="T4" fmla="*/ 18 w 20"/>
                <a:gd name="T5" fmla="*/ 10 h 24"/>
                <a:gd name="T6" fmla="*/ 20 w 20"/>
                <a:gd name="T7" fmla="*/ 20 h 24"/>
                <a:gd name="T8" fmla="*/ 14 w 20"/>
                <a:gd name="T9" fmla="*/ 24 h 24"/>
                <a:gd name="T10" fmla="*/ 2 w 20"/>
                <a:gd name="T11" fmla="*/ 20 h 24"/>
                <a:gd name="T12" fmla="*/ 0 w 20"/>
                <a:gd name="T13" fmla="*/ 14 h 24"/>
                <a:gd name="T14" fmla="*/ 0 w 20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14" y="4"/>
                  </a:lnTo>
                  <a:lnTo>
                    <a:pt x="18" y="10"/>
                  </a:lnTo>
                  <a:lnTo>
                    <a:pt x="20" y="20"/>
                  </a:lnTo>
                  <a:lnTo>
                    <a:pt x="14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61" name="Freeform 55"/>
            <p:cNvSpPr>
              <a:spLocks/>
            </p:cNvSpPr>
            <p:nvPr/>
          </p:nvSpPr>
          <p:spPr bwMode="auto">
            <a:xfrm>
              <a:off x="2006462" y="2188798"/>
              <a:ext cx="6882" cy="15985"/>
            </a:xfrm>
            <a:custGeom>
              <a:avLst/>
              <a:gdLst>
                <a:gd name="T0" fmla="*/ 2 w 10"/>
                <a:gd name="T1" fmla="*/ 0 h 22"/>
                <a:gd name="T2" fmla="*/ 0 w 10"/>
                <a:gd name="T3" fmla="*/ 4 h 22"/>
                <a:gd name="T4" fmla="*/ 0 w 10"/>
                <a:gd name="T5" fmla="*/ 14 h 22"/>
                <a:gd name="T6" fmla="*/ 6 w 10"/>
                <a:gd name="T7" fmla="*/ 22 h 22"/>
                <a:gd name="T8" fmla="*/ 10 w 10"/>
                <a:gd name="T9" fmla="*/ 12 h 22"/>
                <a:gd name="T10" fmla="*/ 2 w 10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22">
                  <a:moveTo>
                    <a:pt x="2" y="0"/>
                  </a:moveTo>
                  <a:lnTo>
                    <a:pt x="0" y="4"/>
                  </a:lnTo>
                  <a:lnTo>
                    <a:pt x="0" y="14"/>
                  </a:lnTo>
                  <a:lnTo>
                    <a:pt x="6" y="22"/>
                  </a:lnTo>
                  <a:lnTo>
                    <a:pt x="10" y="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62" name="Freeform 56"/>
            <p:cNvSpPr>
              <a:spLocks/>
            </p:cNvSpPr>
            <p:nvPr/>
          </p:nvSpPr>
          <p:spPr bwMode="auto">
            <a:xfrm>
              <a:off x="2006462" y="2188798"/>
              <a:ext cx="6882" cy="15985"/>
            </a:xfrm>
            <a:custGeom>
              <a:avLst/>
              <a:gdLst>
                <a:gd name="T0" fmla="*/ 2 w 10"/>
                <a:gd name="T1" fmla="*/ 0 h 22"/>
                <a:gd name="T2" fmla="*/ 0 w 10"/>
                <a:gd name="T3" fmla="*/ 4 h 22"/>
                <a:gd name="T4" fmla="*/ 0 w 10"/>
                <a:gd name="T5" fmla="*/ 14 h 22"/>
                <a:gd name="T6" fmla="*/ 6 w 10"/>
                <a:gd name="T7" fmla="*/ 22 h 22"/>
                <a:gd name="T8" fmla="*/ 10 w 10"/>
                <a:gd name="T9" fmla="*/ 12 h 22"/>
                <a:gd name="T10" fmla="*/ 2 w 10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22">
                  <a:moveTo>
                    <a:pt x="2" y="0"/>
                  </a:moveTo>
                  <a:lnTo>
                    <a:pt x="0" y="4"/>
                  </a:lnTo>
                  <a:lnTo>
                    <a:pt x="0" y="14"/>
                  </a:lnTo>
                  <a:lnTo>
                    <a:pt x="6" y="22"/>
                  </a:lnTo>
                  <a:lnTo>
                    <a:pt x="10" y="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63" name="Freeform 57"/>
            <p:cNvSpPr>
              <a:spLocks/>
            </p:cNvSpPr>
            <p:nvPr/>
          </p:nvSpPr>
          <p:spPr bwMode="auto">
            <a:xfrm>
              <a:off x="1962418" y="2219315"/>
              <a:ext cx="12387" cy="11626"/>
            </a:xfrm>
            <a:custGeom>
              <a:avLst/>
              <a:gdLst>
                <a:gd name="T0" fmla="*/ 0 w 18"/>
                <a:gd name="T1" fmla="*/ 0 h 16"/>
                <a:gd name="T2" fmla="*/ 0 w 18"/>
                <a:gd name="T3" fmla="*/ 4 h 16"/>
                <a:gd name="T4" fmla="*/ 0 w 18"/>
                <a:gd name="T5" fmla="*/ 12 h 16"/>
                <a:gd name="T6" fmla="*/ 10 w 18"/>
                <a:gd name="T7" fmla="*/ 16 h 16"/>
                <a:gd name="T8" fmla="*/ 18 w 18"/>
                <a:gd name="T9" fmla="*/ 10 h 16"/>
                <a:gd name="T10" fmla="*/ 0 w 18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0" y="0"/>
                  </a:moveTo>
                  <a:lnTo>
                    <a:pt x="0" y="4"/>
                  </a:lnTo>
                  <a:lnTo>
                    <a:pt x="0" y="12"/>
                  </a:lnTo>
                  <a:lnTo>
                    <a:pt x="10" y="16"/>
                  </a:lnTo>
                  <a:lnTo>
                    <a:pt x="18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64" name="Freeform 58"/>
            <p:cNvSpPr>
              <a:spLocks/>
            </p:cNvSpPr>
            <p:nvPr/>
          </p:nvSpPr>
          <p:spPr bwMode="auto">
            <a:xfrm>
              <a:off x="1962418" y="2219315"/>
              <a:ext cx="12387" cy="11626"/>
            </a:xfrm>
            <a:custGeom>
              <a:avLst/>
              <a:gdLst>
                <a:gd name="T0" fmla="*/ 0 w 18"/>
                <a:gd name="T1" fmla="*/ 0 h 16"/>
                <a:gd name="T2" fmla="*/ 0 w 18"/>
                <a:gd name="T3" fmla="*/ 4 h 16"/>
                <a:gd name="T4" fmla="*/ 0 w 18"/>
                <a:gd name="T5" fmla="*/ 12 h 16"/>
                <a:gd name="T6" fmla="*/ 10 w 18"/>
                <a:gd name="T7" fmla="*/ 16 h 16"/>
                <a:gd name="T8" fmla="*/ 18 w 18"/>
                <a:gd name="T9" fmla="*/ 10 h 16"/>
                <a:gd name="T10" fmla="*/ 0 w 18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0" y="0"/>
                  </a:moveTo>
                  <a:lnTo>
                    <a:pt x="0" y="4"/>
                  </a:lnTo>
                  <a:lnTo>
                    <a:pt x="0" y="12"/>
                  </a:lnTo>
                  <a:lnTo>
                    <a:pt x="10" y="16"/>
                  </a:lnTo>
                  <a:lnTo>
                    <a:pt x="18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65" name="Freeform 59"/>
            <p:cNvSpPr>
              <a:spLocks/>
            </p:cNvSpPr>
            <p:nvPr/>
          </p:nvSpPr>
          <p:spPr bwMode="auto">
            <a:xfrm>
              <a:off x="1742199" y="2185891"/>
              <a:ext cx="260134" cy="357493"/>
            </a:xfrm>
            <a:custGeom>
              <a:avLst/>
              <a:gdLst>
                <a:gd name="T0" fmla="*/ 148 w 378"/>
                <a:gd name="T1" fmla="*/ 10 h 492"/>
                <a:gd name="T2" fmla="*/ 152 w 378"/>
                <a:gd name="T3" fmla="*/ 34 h 492"/>
                <a:gd name="T4" fmla="*/ 150 w 378"/>
                <a:gd name="T5" fmla="*/ 52 h 492"/>
                <a:gd name="T6" fmla="*/ 170 w 378"/>
                <a:gd name="T7" fmla="*/ 76 h 492"/>
                <a:gd name="T8" fmla="*/ 140 w 378"/>
                <a:gd name="T9" fmla="*/ 68 h 492"/>
                <a:gd name="T10" fmla="*/ 116 w 378"/>
                <a:gd name="T11" fmla="*/ 88 h 492"/>
                <a:gd name="T12" fmla="*/ 100 w 378"/>
                <a:gd name="T13" fmla="*/ 72 h 492"/>
                <a:gd name="T14" fmla="*/ 70 w 378"/>
                <a:gd name="T15" fmla="*/ 88 h 492"/>
                <a:gd name="T16" fmla="*/ 76 w 378"/>
                <a:gd name="T17" fmla="*/ 112 h 492"/>
                <a:gd name="T18" fmla="*/ 60 w 378"/>
                <a:gd name="T19" fmla="*/ 126 h 492"/>
                <a:gd name="T20" fmla="*/ 64 w 378"/>
                <a:gd name="T21" fmla="*/ 150 h 492"/>
                <a:gd name="T22" fmla="*/ 42 w 378"/>
                <a:gd name="T23" fmla="*/ 176 h 492"/>
                <a:gd name="T24" fmla="*/ 20 w 378"/>
                <a:gd name="T25" fmla="*/ 196 h 492"/>
                <a:gd name="T26" fmla="*/ 14 w 378"/>
                <a:gd name="T27" fmla="*/ 234 h 492"/>
                <a:gd name="T28" fmla="*/ 12 w 378"/>
                <a:gd name="T29" fmla="*/ 252 h 492"/>
                <a:gd name="T30" fmla="*/ 2 w 378"/>
                <a:gd name="T31" fmla="*/ 288 h 492"/>
                <a:gd name="T32" fmla="*/ 14 w 378"/>
                <a:gd name="T33" fmla="*/ 304 h 492"/>
                <a:gd name="T34" fmla="*/ 0 w 378"/>
                <a:gd name="T35" fmla="*/ 328 h 492"/>
                <a:gd name="T36" fmla="*/ 20 w 378"/>
                <a:gd name="T37" fmla="*/ 352 h 492"/>
                <a:gd name="T38" fmla="*/ 60 w 378"/>
                <a:gd name="T39" fmla="*/ 356 h 492"/>
                <a:gd name="T40" fmla="*/ 66 w 378"/>
                <a:gd name="T41" fmla="*/ 374 h 492"/>
                <a:gd name="T42" fmla="*/ 48 w 378"/>
                <a:gd name="T43" fmla="*/ 398 h 492"/>
                <a:gd name="T44" fmla="*/ 34 w 378"/>
                <a:gd name="T45" fmla="*/ 438 h 492"/>
                <a:gd name="T46" fmla="*/ 54 w 378"/>
                <a:gd name="T47" fmla="*/ 462 h 492"/>
                <a:gd name="T48" fmla="*/ 72 w 378"/>
                <a:gd name="T49" fmla="*/ 452 h 492"/>
                <a:gd name="T50" fmla="*/ 92 w 378"/>
                <a:gd name="T51" fmla="*/ 460 h 492"/>
                <a:gd name="T52" fmla="*/ 110 w 378"/>
                <a:gd name="T53" fmla="*/ 476 h 492"/>
                <a:gd name="T54" fmla="*/ 146 w 378"/>
                <a:gd name="T55" fmla="*/ 480 h 492"/>
                <a:gd name="T56" fmla="*/ 168 w 378"/>
                <a:gd name="T57" fmla="*/ 484 h 492"/>
                <a:gd name="T58" fmla="*/ 204 w 378"/>
                <a:gd name="T59" fmla="*/ 484 h 492"/>
                <a:gd name="T60" fmla="*/ 226 w 378"/>
                <a:gd name="T61" fmla="*/ 482 h 492"/>
                <a:gd name="T62" fmla="*/ 252 w 378"/>
                <a:gd name="T63" fmla="*/ 482 h 492"/>
                <a:gd name="T64" fmla="*/ 282 w 378"/>
                <a:gd name="T65" fmla="*/ 488 h 492"/>
                <a:gd name="T66" fmla="*/ 274 w 378"/>
                <a:gd name="T67" fmla="*/ 468 h 492"/>
                <a:gd name="T68" fmla="*/ 318 w 378"/>
                <a:gd name="T69" fmla="*/ 426 h 492"/>
                <a:gd name="T70" fmla="*/ 296 w 378"/>
                <a:gd name="T71" fmla="*/ 408 h 492"/>
                <a:gd name="T72" fmla="*/ 256 w 378"/>
                <a:gd name="T73" fmla="*/ 368 h 492"/>
                <a:gd name="T74" fmla="*/ 246 w 378"/>
                <a:gd name="T75" fmla="*/ 332 h 492"/>
                <a:gd name="T76" fmla="*/ 260 w 378"/>
                <a:gd name="T77" fmla="*/ 322 h 492"/>
                <a:gd name="T78" fmla="*/ 340 w 378"/>
                <a:gd name="T79" fmla="*/ 288 h 492"/>
                <a:gd name="T80" fmla="*/ 370 w 378"/>
                <a:gd name="T81" fmla="*/ 286 h 492"/>
                <a:gd name="T82" fmla="*/ 378 w 378"/>
                <a:gd name="T83" fmla="*/ 260 h 492"/>
                <a:gd name="T84" fmla="*/ 368 w 378"/>
                <a:gd name="T85" fmla="*/ 216 h 492"/>
                <a:gd name="T86" fmla="*/ 362 w 378"/>
                <a:gd name="T87" fmla="*/ 184 h 492"/>
                <a:gd name="T88" fmla="*/ 352 w 378"/>
                <a:gd name="T89" fmla="*/ 148 h 492"/>
                <a:gd name="T90" fmla="*/ 338 w 378"/>
                <a:gd name="T91" fmla="*/ 92 h 492"/>
                <a:gd name="T92" fmla="*/ 304 w 378"/>
                <a:gd name="T93" fmla="*/ 60 h 492"/>
                <a:gd name="T94" fmla="*/ 280 w 378"/>
                <a:gd name="T95" fmla="*/ 60 h 492"/>
                <a:gd name="T96" fmla="*/ 234 w 378"/>
                <a:gd name="T97" fmla="*/ 76 h 492"/>
                <a:gd name="T98" fmla="*/ 232 w 378"/>
                <a:gd name="T99" fmla="*/ 62 h 492"/>
                <a:gd name="T100" fmla="*/ 210 w 378"/>
                <a:gd name="T101" fmla="*/ 42 h 492"/>
                <a:gd name="T102" fmla="*/ 192 w 378"/>
                <a:gd name="T103" fmla="*/ 10 h 492"/>
                <a:gd name="T104" fmla="*/ 166 w 378"/>
                <a:gd name="T105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8" h="492">
                  <a:moveTo>
                    <a:pt x="156" y="0"/>
                  </a:moveTo>
                  <a:lnTo>
                    <a:pt x="148" y="4"/>
                  </a:lnTo>
                  <a:lnTo>
                    <a:pt x="148" y="10"/>
                  </a:lnTo>
                  <a:lnTo>
                    <a:pt x="150" y="16"/>
                  </a:lnTo>
                  <a:lnTo>
                    <a:pt x="150" y="24"/>
                  </a:lnTo>
                  <a:lnTo>
                    <a:pt x="152" y="34"/>
                  </a:lnTo>
                  <a:lnTo>
                    <a:pt x="148" y="38"/>
                  </a:lnTo>
                  <a:lnTo>
                    <a:pt x="148" y="44"/>
                  </a:lnTo>
                  <a:lnTo>
                    <a:pt x="150" y="52"/>
                  </a:lnTo>
                  <a:lnTo>
                    <a:pt x="160" y="60"/>
                  </a:lnTo>
                  <a:lnTo>
                    <a:pt x="168" y="62"/>
                  </a:lnTo>
                  <a:lnTo>
                    <a:pt x="170" y="76"/>
                  </a:lnTo>
                  <a:lnTo>
                    <a:pt x="154" y="72"/>
                  </a:lnTo>
                  <a:lnTo>
                    <a:pt x="146" y="64"/>
                  </a:lnTo>
                  <a:lnTo>
                    <a:pt x="140" y="68"/>
                  </a:lnTo>
                  <a:lnTo>
                    <a:pt x="128" y="84"/>
                  </a:lnTo>
                  <a:lnTo>
                    <a:pt x="122" y="88"/>
                  </a:lnTo>
                  <a:lnTo>
                    <a:pt x="116" y="88"/>
                  </a:lnTo>
                  <a:lnTo>
                    <a:pt x="116" y="80"/>
                  </a:lnTo>
                  <a:lnTo>
                    <a:pt x="112" y="76"/>
                  </a:lnTo>
                  <a:lnTo>
                    <a:pt x="100" y="72"/>
                  </a:lnTo>
                  <a:lnTo>
                    <a:pt x="84" y="72"/>
                  </a:lnTo>
                  <a:lnTo>
                    <a:pt x="78" y="78"/>
                  </a:lnTo>
                  <a:lnTo>
                    <a:pt x="70" y="88"/>
                  </a:lnTo>
                  <a:lnTo>
                    <a:pt x="78" y="94"/>
                  </a:lnTo>
                  <a:lnTo>
                    <a:pt x="78" y="106"/>
                  </a:lnTo>
                  <a:lnTo>
                    <a:pt x="76" y="112"/>
                  </a:lnTo>
                  <a:lnTo>
                    <a:pt x="72" y="118"/>
                  </a:lnTo>
                  <a:lnTo>
                    <a:pt x="64" y="124"/>
                  </a:lnTo>
                  <a:lnTo>
                    <a:pt x="60" y="126"/>
                  </a:lnTo>
                  <a:lnTo>
                    <a:pt x="62" y="136"/>
                  </a:lnTo>
                  <a:lnTo>
                    <a:pt x="66" y="142"/>
                  </a:lnTo>
                  <a:lnTo>
                    <a:pt x="64" y="150"/>
                  </a:lnTo>
                  <a:lnTo>
                    <a:pt x="56" y="160"/>
                  </a:lnTo>
                  <a:lnTo>
                    <a:pt x="48" y="168"/>
                  </a:lnTo>
                  <a:lnTo>
                    <a:pt x="42" y="176"/>
                  </a:lnTo>
                  <a:lnTo>
                    <a:pt x="34" y="182"/>
                  </a:lnTo>
                  <a:lnTo>
                    <a:pt x="26" y="184"/>
                  </a:lnTo>
                  <a:lnTo>
                    <a:pt x="20" y="196"/>
                  </a:lnTo>
                  <a:lnTo>
                    <a:pt x="20" y="212"/>
                  </a:lnTo>
                  <a:lnTo>
                    <a:pt x="14" y="220"/>
                  </a:lnTo>
                  <a:lnTo>
                    <a:pt x="14" y="234"/>
                  </a:lnTo>
                  <a:lnTo>
                    <a:pt x="8" y="240"/>
                  </a:lnTo>
                  <a:lnTo>
                    <a:pt x="6" y="246"/>
                  </a:lnTo>
                  <a:lnTo>
                    <a:pt x="12" y="252"/>
                  </a:lnTo>
                  <a:lnTo>
                    <a:pt x="14" y="262"/>
                  </a:lnTo>
                  <a:lnTo>
                    <a:pt x="20" y="272"/>
                  </a:lnTo>
                  <a:lnTo>
                    <a:pt x="2" y="288"/>
                  </a:lnTo>
                  <a:lnTo>
                    <a:pt x="6" y="296"/>
                  </a:lnTo>
                  <a:lnTo>
                    <a:pt x="12" y="304"/>
                  </a:lnTo>
                  <a:lnTo>
                    <a:pt x="14" y="304"/>
                  </a:lnTo>
                  <a:lnTo>
                    <a:pt x="14" y="312"/>
                  </a:lnTo>
                  <a:lnTo>
                    <a:pt x="4" y="318"/>
                  </a:lnTo>
                  <a:lnTo>
                    <a:pt x="0" y="328"/>
                  </a:lnTo>
                  <a:lnTo>
                    <a:pt x="4" y="340"/>
                  </a:lnTo>
                  <a:lnTo>
                    <a:pt x="10" y="348"/>
                  </a:lnTo>
                  <a:lnTo>
                    <a:pt x="20" y="352"/>
                  </a:lnTo>
                  <a:lnTo>
                    <a:pt x="34" y="354"/>
                  </a:lnTo>
                  <a:lnTo>
                    <a:pt x="48" y="356"/>
                  </a:lnTo>
                  <a:lnTo>
                    <a:pt x="60" y="356"/>
                  </a:lnTo>
                  <a:lnTo>
                    <a:pt x="68" y="362"/>
                  </a:lnTo>
                  <a:lnTo>
                    <a:pt x="76" y="370"/>
                  </a:lnTo>
                  <a:lnTo>
                    <a:pt x="66" y="374"/>
                  </a:lnTo>
                  <a:lnTo>
                    <a:pt x="58" y="382"/>
                  </a:lnTo>
                  <a:lnTo>
                    <a:pt x="50" y="390"/>
                  </a:lnTo>
                  <a:lnTo>
                    <a:pt x="48" y="398"/>
                  </a:lnTo>
                  <a:lnTo>
                    <a:pt x="44" y="418"/>
                  </a:lnTo>
                  <a:lnTo>
                    <a:pt x="38" y="430"/>
                  </a:lnTo>
                  <a:lnTo>
                    <a:pt x="34" y="438"/>
                  </a:lnTo>
                  <a:lnTo>
                    <a:pt x="44" y="452"/>
                  </a:lnTo>
                  <a:lnTo>
                    <a:pt x="48" y="456"/>
                  </a:lnTo>
                  <a:lnTo>
                    <a:pt x="54" y="462"/>
                  </a:lnTo>
                  <a:lnTo>
                    <a:pt x="60" y="460"/>
                  </a:lnTo>
                  <a:lnTo>
                    <a:pt x="70" y="456"/>
                  </a:lnTo>
                  <a:lnTo>
                    <a:pt x="72" y="452"/>
                  </a:lnTo>
                  <a:lnTo>
                    <a:pt x="74" y="450"/>
                  </a:lnTo>
                  <a:lnTo>
                    <a:pt x="86" y="452"/>
                  </a:lnTo>
                  <a:lnTo>
                    <a:pt x="92" y="460"/>
                  </a:lnTo>
                  <a:lnTo>
                    <a:pt x="96" y="468"/>
                  </a:lnTo>
                  <a:lnTo>
                    <a:pt x="102" y="474"/>
                  </a:lnTo>
                  <a:lnTo>
                    <a:pt x="110" y="476"/>
                  </a:lnTo>
                  <a:lnTo>
                    <a:pt x="126" y="474"/>
                  </a:lnTo>
                  <a:lnTo>
                    <a:pt x="134" y="472"/>
                  </a:lnTo>
                  <a:lnTo>
                    <a:pt x="146" y="480"/>
                  </a:lnTo>
                  <a:lnTo>
                    <a:pt x="154" y="476"/>
                  </a:lnTo>
                  <a:lnTo>
                    <a:pt x="162" y="478"/>
                  </a:lnTo>
                  <a:lnTo>
                    <a:pt x="168" y="484"/>
                  </a:lnTo>
                  <a:lnTo>
                    <a:pt x="182" y="478"/>
                  </a:lnTo>
                  <a:lnTo>
                    <a:pt x="194" y="478"/>
                  </a:lnTo>
                  <a:lnTo>
                    <a:pt x="204" y="484"/>
                  </a:lnTo>
                  <a:lnTo>
                    <a:pt x="210" y="488"/>
                  </a:lnTo>
                  <a:lnTo>
                    <a:pt x="218" y="482"/>
                  </a:lnTo>
                  <a:lnTo>
                    <a:pt x="226" y="482"/>
                  </a:lnTo>
                  <a:lnTo>
                    <a:pt x="240" y="478"/>
                  </a:lnTo>
                  <a:lnTo>
                    <a:pt x="250" y="484"/>
                  </a:lnTo>
                  <a:lnTo>
                    <a:pt x="252" y="482"/>
                  </a:lnTo>
                  <a:lnTo>
                    <a:pt x="262" y="488"/>
                  </a:lnTo>
                  <a:lnTo>
                    <a:pt x="270" y="492"/>
                  </a:lnTo>
                  <a:lnTo>
                    <a:pt x="282" y="488"/>
                  </a:lnTo>
                  <a:lnTo>
                    <a:pt x="282" y="482"/>
                  </a:lnTo>
                  <a:lnTo>
                    <a:pt x="276" y="472"/>
                  </a:lnTo>
                  <a:lnTo>
                    <a:pt x="274" y="468"/>
                  </a:lnTo>
                  <a:lnTo>
                    <a:pt x="270" y="452"/>
                  </a:lnTo>
                  <a:lnTo>
                    <a:pt x="308" y="426"/>
                  </a:lnTo>
                  <a:lnTo>
                    <a:pt x="318" y="426"/>
                  </a:lnTo>
                  <a:lnTo>
                    <a:pt x="320" y="424"/>
                  </a:lnTo>
                  <a:lnTo>
                    <a:pt x="306" y="418"/>
                  </a:lnTo>
                  <a:lnTo>
                    <a:pt x="296" y="408"/>
                  </a:lnTo>
                  <a:lnTo>
                    <a:pt x="272" y="388"/>
                  </a:lnTo>
                  <a:lnTo>
                    <a:pt x="270" y="370"/>
                  </a:lnTo>
                  <a:lnTo>
                    <a:pt x="256" y="368"/>
                  </a:lnTo>
                  <a:lnTo>
                    <a:pt x="254" y="352"/>
                  </a:lnTo>
                  <a:lnTo>
                    <a:pt x="252" y="338"/>
                  </a:lnTo>
                  <a:lnTo>
                    <a:pt x="246" y="332"/>
                  </a:lnTo>
                  <a:lnTo>
                    <a:pt x="248" y="326"/>
                  </a:lnTo>
                  <a:lnTo>
                    <a:pt x="252" y="322"/>
                  </a:lnTo>
                  <a:lnTo>
                    <a:pt x="260" y="322"/>
                  </a:lnTo>
                  <a:lnTo>
                    <a:pt x="282" y="316"/>
                  </a:lnTo>
                  <a:lnTo>
                    <a:pt x="330" y="292"/>
                  </a:lnTo>
                  <a:lnTo>
                    <a:pt x="340" y="288"/>
                  </a:lnTo>
                  <a:lnTo>
                    <a:pt x="352" y="282"/>
                  </a:lnTo>
                  <a:lnTo>
                    <a:pt x="360" y="290"/>
                  </a:lnTo>
                  <a:lnTo>
                    <a:pt x="370" y="286"/>
                  </a:lnTo>
                  <a:lnTo>
                    <a:pt x="374" y="274"/>
                  </a:lnTo>
                  <a:lnTo>
                    <a:pt x="372" y="268"/>
                  </a:lnTo>
                  <a:lnTo>
                    <a:pt x="378" y="260"/>
                  </a:lnTo>
                  <a:lnTo>
                    <a:pt x="372" y="252"/>
                  </a:lnTo>
                  <a:lnTo>
                    <a:pt x="364" y="238"/>
                  </a:lnTo>
                  <a:lnTo>
                    <a:pt x="368" y="216"/>
                  </a:lnTo>
                  <a:lnTo>
                    <a:pt x="362" y="204"/>
                  </a:lnTo>
                  <a:lnTo>
                    <a:pt x="358" y="194"/>
                  </a:lnTo>
                  <a:lnTo>
                    <a:pt x="362" y="184"/>
                  </a:lnTo>
                  <a:lnTo>
                    <a:pt x="360" y="176"/>
                  </a:lnTo>
                  <a:lnTo>
                    <a:pt x="344" y="158"/>
                  </a:lnTo>
                  <a:lnTo>
                    <a:pt x="352" y="148"/>
                  </a:lnTo>
                  <a:lnTo>
                    <a:pt x="352" y="132"/>
                  </a:lnTo>
                  <a:lnTo>
                    <a:pt x="354" y="112"/>
                  </a:lnTo>
                  <a:lnTo>
                    <a:pt x="338" y="92"/>
                  </a:lnTo>
                  <a:lnTo>
                    <a:pt x="330" y="82"/>
                  </a:lnTo>
                  <a:lnTo>
                    <a:pt x="320" y="72"/>
                  </a:lnTo>
                  <a:lnTo>
                    <a:pt x="304" y="60"/>
                  </a:lnTo>
                  <a:lnTo>
                    <a:pt x="296" y="54"/>
                  </a:lnTo>
                  <a:lnTo>
                    <a:pt x="288" y="52"/>
                  </a:lnTo>
                  <a:lnTo>
                    <a:pt x="280" y="60"/>
                  </a:lnTo>
                  <a:lnTo>
                    <a:pt x="272" y="64"/>
                  </a:lnTo>
                  <a:lnTo>
                    <a:pt x="250" y="80"/>
                  </a:lnTo>
                  <a:lnTo>
                    <a:pt x="234" y="76"/>
                  </a:lnTo>
                  <a:lnTo>
                    <a:pt x="228" y="76"/>
                  </a:lnTo>
                  <a:lnTo>
                    <a:pt x="228" y="70"/>
                  </a:lnTo>
                  <a:lnTo>
                    <a:pt x="232" y="62"/>
                  </a:lnTo>
                  <a:lnTo>
                    <a:pt x="234" y="56"/>
                  </a:lnTo>
                  <a:lnTo>
                    <a:pt x="216" y="44"/>
                  </a:lnTo>
                  <a:lnTo>
                    <a:pt x="210" y="42"/>
                  </a:lnTo>
                  <a:lnTo>
                    <a:pt x="200" y="34"/>
                  </a:lnTo>
                  <a:lnTo>
                    <a:pt x="196" y="20"/>
                  </a:lnTo>
                  <a:lnTo>
                    <a:pt x="192" y="10"/>
                  </a:lnTo>
                  <a:lnTo>
                    <a:pt x="184" y="12"/>
                  </a:lnTo>
                  <a:lnTo>
                    <a:pt x="176" y="2"/>
                  </a:lnTo>
                  <a:lnTo>
                    <a:pt x="16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66" name="Freeform 60"/>
            <p:cNvSpPr>
              <a:spLocks/>
            </p:cNvSpPr>
            <p:nvPr/>
          </p:nvSpPr>
          <p:spPr bwMode="auto">
            <a:xfrm>
              <a:off x="1742199" y="2185891"/>
              <a:ext cx="260134" cy="357493"/>
            </a:xfrm>
            <a:custGeom>
              <a:avLst/>
              <a:gdLst>
                <a:gd name="T0" fmla="*/ 148 w 378"/>
                <a:gd name="T1" fmla="*/ 10 h 492"/>
                <a:gd name="T2" fmla="*/ 152 w 378"/>
                <a:gd name="T3" fmla="*/ 34 h 492"/>
                <a:gd name="T4" fmla="*/ 150 w 378"/>
                <a:gd name="T5" fmla="*/ 52 h 492"/>
                <a:gd name="T6" fmla="*/ 170 w 378"/>
                <a:gd name="T7" fmla="*/ 76 h 492"/>
                <a:gd name="T8" fmla="*/ 140 w 378"/>
                <a:gd name="T9" fmla="*/ 68 h 492"/>
                <a:gd name="T10" fmla="*/ 116 w 378"/>
                <a:gd name="T11" fmla="*/ 88 h 492"/>
                <a:gd name="T12" fmla="*/ 100 w 378"/>
                <a:gd name="T13" fmla="*/ 72 h 492"/>
                <a:gd name="T14" fmla="*/ 70 w 378"/>
                <a:gd name="T15" fmla="*/ 88 h 492"/>
                <a:gd name="T16" fmla="*/ 76 w 378"/>
                <a:gd name="T17" fmla="*/ 112 h 492"/>
                <a:gd name="T18" fmla="*/ 60 w 378"/>
                <a:gd name="T19" fmla="*/ 126 h 492"/>
                <a:gd name="T20" fmla="*/ 64 w 378"/>
                <a:gd name="T21" fmla="*/ 150 h 492"/>
                <a:gd name="T22" fmla="*/ 42 w 378"/>
                <a:gd name="T23" fmla="*/ 176 h 492"/>
                <a:gd name="T24" fmla="*/ 20 w 378"/>
                <a:gd name="T25" fmla="*/ 196 h 492"/>
                <a:gd name="T26" fmla="*/ 14 w 378"/>
                <a:gd name="T27" fmla="*/ 234 h 492"/>
                <a:gd name="T28" fmla="*/ 12 w 378"/>
                <a:gd name="T29" fmla="*/ 252 h 492"/>
                <a:gd name="T30" fmla="*/ 2 w 378"/>
                <a:gd name="T31" fmla="*/ 288 h 492"/>
                <a:gd name="T32" fmla="*/ 14 w 378"/>
                <a:gd name="T33" fmla="*/ 304 h 492"/>
                <a:gd name="T34" fmla="*/ 0 w 378"/>
                <a:gd name="T35" fmla="*/ 328 h 492"/>
                <a:gd name="T36" fmla="*/ 20 w 378"/>
                <a:gd name="T37" fmla="*/ 352 h 492"/>
                <a:gd name="T38" fmla="*/ 60 w 378"/>
                <a:gd name="T39" fmla="*/ 356 h 492"/>
                <a:gd name="T40" fmla="*/ 66 w 378"/>
                <a:gd name="T41" fmla="*/ 374 h 492"/>
                <a:gd name="T42" fmla="*/ 48 w 378"/>
                <a:gd name="T43" fmla="*/ 398 h 492"/>
                <a:gd name="T44" fmla="*/ 34 w 378"/>
                <a:gd name="T45" fmla="*/ 438 h 492"/>
                <a:gd name="T46" fmla="*/ 54 w 378"/>
                <a:gd name="T47" fmla="*/ 462 h 492"/>
                <a:gd name="T48" fmla="*/ 72 w 378"/>
                <a:gd name="T49" fmla="*/ 452 h 492"/>
                <a:gd name="T50" fmla="*/ 92 w 378"/>
                <a:gd name="T51" fmla="*/ 460 h 492"/>
                <a:gd name="T52" fmla="*/ 110 w 378"/>
                <a:gd name="T53" fmla="*/ 476 h 492"/>
                <a:gd name="T54" fmla="*/ 146 w 378"/>
                <a:gd name="T55" fmla="*/ 480 h 492"/>
                <a:gd name="T56" fmla="*/ 168 w 378"/>
                <a:gd name="T57" fmla="*/ 484 h 492"/>
                <a:gd name="T58" fmla="*/ 204 w 378"/>
                <a:gd name="T59" fmla="*/ 484 h 492"/>
                <a:gd name="T60" fmla="*/ 226 w 378"/>
                <a:gd name="T61" fmla="*/ 482 h 492"/>
                <a:gd name="T62" fmla="*/ 252 w 378"/>
                <a:gd name="T63" fmla="*/ 482 h 492"/>
                <a:gd name="T64" fmla="*/ 282 w 378"/>
                <a:gd name="T65" fmla="*/ 488 h 492"/>
                <a:gd name="T66" fmla="*/ 274 w 378"/>
                <a:gd name="T67" fmla="*/ 468 h 492"/>
                <a:gd name="T68" fmla="*/ 318 w 378"/>
                <a:gd name="T69" fmla="*/ 426 h 492"/>
                <a:gd name="T70" fmla="*/ 296 w 378"/>
                <a:gd name="T71" fmla="*/ 408 h 492"/>
                <a:gd name="T72" fmla="*/ 256 w 378"/>
                <a:gd name="T73" fmla="*/ 368 h 492"/>
                <a:gd name="T74" fmla="*/ 246 w 378"/>
                <a:gd name="T75" fmla="*/ 332 h 492"/>
                <a:gd name="T76" fmla="*/ 260 w 378"/>
                <a:gd name="T77" fmla="*/ 322 h 492"/>
                <a:gd name="T78" fmla="*/ 340 w 378"/>
                <a:gd name="T79" fmla="*/ 288 h 492"/>
                <a:gd name="T80" fmla="*/ 370 w 378"/>
                <a:gd name="T81" fmla="*/ 286 h 492"/>
                <a:gd name="T82" fmla="*/ 378 w 378"/>
                <a:gd name="T83" fmla="*/ 260 h 492"/>
                <a:gd name="T84" fmla="*/ 368 w 378"/>
                <a:gd name="T85" fmla="*/ 216 h 492"/>
                <a:gd name="T86" fmla="*/ 362 w 378"/>
                <a:gd name="T87" fmla="*/ 184 h 492"/>
                <a:gd name="T88" fmla="*/ 352 w 378"/>
                <a:gd name="T89" fmla="*/ 148 h 492"/>
                <a:gd name="T90" fmla="*/ 338 w 378"/>
                <a:gd name="T91" fmla="*/ 94 h 492"/>
                <a:gd name="T92" fmla="*/ 304 w 378"/>
                <a:gd name="T93" fmla="*/ 60 h 492"/>
                <a:gd name="T94" fmla="*/ 280 w 378"/>
                <a:gd name="T95" fmla="*/ 60 h 492"/>
                <a:gd name="T96" fmla="*/ 234 w 378"/>
                <a:gd name="T97" fmla="*/ 76 h 492"/>
                <a:gd name="T98" fmla="*/ 232 w 378"/>
                <a:gd name="T99" fmla="*/ 62 h 492"/>
                <a:gd name="T100" fmla="*/ 210 w 378"/>
                <a:gd name="T101" fmla="*/ 42 h 492"/>
                <a:gd name="T102" fmla="*/ 192 w 378"/>
                <a:gd name="T103" fmla="*/ 10 h 492"/>
                <a:gd name="T104" fmla="*/ 166 w 378"/>
                <a:gd name="T105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8" h="492">
                  <a:moveTo>
                    <a:pt x="156" y="0"/>
                  </a:moveTo>
                  <a:lnTo>
                    <a:pt x="148" y="4"/>
                  </a:lnTo>
                  <a:lnTo>
                    <a:pt x="148" y="10"/>
                  </a:lnTo>
                  <a:lnTo>
                    <a:pt x="150" y="16"/>
                  </a:lnTo>
                  <a:lnTo>
                    <a:pt x="150" y="24"/>
                  </a:lnTo>
                  <a:lnTo>
                    <a:pt x="152" y="34"/>
                  </a:lnTo>
                  <a:lnTo>
                    <a:pt x="148" y="38"/>
                  </a:lnTo>
                  <a:lnTo>
                    <a:pt x="148" y="44"/>
                  </a:lnTo>
                  <a:lnTo>
                    <a:pt x="150" y="52"/>
                  </a:lnTo>
                  <a:lnTo>
                    <a:pt x="160" y="60"/>
                  </a:lnTo>
                  <a:lnTo>
                    <a:pt x="168" y="62"/>
                  </a:lnTo>
                  <a:lnTo>
                    <a:pt x="170" y="76"/>
                  </a:lnTo>
                  <a:lnTo>
                    <a:pt x="154" y="72"/>
                  </a:lnTo>
                  <a:lnTo>
                    <a:pt x="146" y="64"/>
                  </a:lnTo>
                  <a:lnTo>
                    <a:pt x="140" y="68"/>
                  </a:lnTo>
                  <a:lnTo>
                    <a:pt x="128" y="84"/>
                  </a:lnTo>
                  <a:lnTo>
                    <a:pt x="122" y="88"/>
                  </a:lnTo>
                  <a:lnTo>
                    <a:pt x="116" y="88"/>
                  </a:lnTo>
                  <a:lnTo>
                    <a:pt x="116" y="80"/>
                  </a:lnTo>
                  <a:lnTo>
                    <a:pt x="112" y="76"/>
                  </a:lnTo>
                  <a:lnTo>
                    <a:pt x="100" y="72"/>
                  </a:lnTo>
                  <a:lnTo>
                    <a:pt x="84" y="72"/>
                  </a:lnTo>
                  <a:lnTo>
                    <a:pt x="78" y="78"/>
                  </a:lnTo>
                  <a:lnTo>
                    <a:pt x="70" y="88"/>
                  </a:lnTo>
                  <a:lnTo>
                    <a:pt x="78" y="94"/>
                  </a:lnTo>
                  <a:lnTo>
                    <a:pt x="78" y="106"/>
                  </a:lnTo>
                  <a:lnTo>
                    <a:pt x="76" y="112"/>
                  </a:lnTo>
                  <a:lnTo>
                    <a:pt x="72" y="118"/>
                  </a:lnTo>
                  <a:lnTo>
                    <a:pt x="64" y="124"/>
                  </a:lnTo>
                  <a:lnTo>
                    <a:pt x="60" y="126"/>
                  </a:lnTo>
                  <a:lnTo>
                    <a:pt x="62" y="136"/>
                  </a:lnTo>
                  <a:lnTo>
                    <a:pt x="66" y="142"/>
                  </a:lnTo>
                  <a:lnTo>
                    <a:pt x="64" y="150"/>
                  </a:lnTo>
                  <a:lnTo>
                    <a:pt x="56" y="160"/>
                  </a:lnTo>
                  <a:lnTo>
                    <a:pt x="48" y="168"/>
                  </a:lnTo>
                  <a:lnTo>
                    <a:pt x="42" y="176"/>
                  </a:lnTo>
                  <a:lnTo>
                    <a:pt x="34" y="182"/>
                  </a:lnTo>
                  <a:lnTo>
                    <a:pt x="26" y="184"/>
                  </a:lnTo>
                  <a:lnTo>
                    <a:pt x="20" y="196"/>
                  </a:lnTo>
                  <a:lnTo>
                    <a:pt x="20" y="212"/>
                  </a:lnTo>
                  <a:lnTo>
                    <a:pt x="14" y="220"/>
                  </a:lnTo>
                  <a:lnTo>
                    <a:pt x="14" y="234"/>
                  </a:lnTo>
                  <a:lnTo>
                    <a:pt x="8" y="240"/>
                  </a:lnTo>
                  <a:lnTo>
                    <a:pt x="6" y="246"/>
                  </a:lnTo>
                  <a:lnTo>
                    <a:pt x="12" y="252"/>
                  </a:lnTo>
                  <a:lnTo>
                    <a:pt x="14" y="262"/>
                  </a:lnTo>
                  <a:lnTo>
                    <a:pt x="20" y="272"/>
                  </a:lnTo>
                  <a:lnTo>
                    <a:pt x="2" y="288"/>
                  </a:lnTo>
                  <a:lnTo>
                    <a:pt x="6" y="296"/>
                  </a:lnTo>
                  <a:lnTo>
                    <a:pt x="12" y="304"/>
                  </a:lnTo>
                  <a:lnTo>
                    <a:pt x="14" y="304"/>
                  </a:lnTo>
                  <a:lnTo>
                    <a:pt x="14" y="312"/>
                  </a:lnTo>
                  <a:lnTo>
                    <a:pt x="4" y="318"/>
                  </a:lnTo>
                  <a:lnTo>
                    <a:pt x="0" y="328"/>
                  </a:lnTo>
                  <a:lnTo>
                    <a:pt x="4" y="340"/>
                  </a:lnTo>
                  <a:lnTo>
                    <a:pt x="10" y="348"/>
                  </a:lnTo>
                  <a:lnTo>
                    <a:pt x="20" y="352"/>
                  </a:lnTo>
                  <a:lnTo>
                    <a:pt x="34" y="354"/>
                  </a:lnTo>
                  <a:lnTo>
                    <a:pt x="48" y="356"/>
                  </a:lnTo>
                  <a:lnTo>
                    <a:pt x="60" y="356"/>
                  </a:lnTo>
                  <a:lnTo>
                    <a:pt x="68" y="362"/>
                  </a:lnTo>
                  <a:lnTo>
                    <a:pt x="76" y="370"/>
                  </a:lnTo>
                  <a:lnTo>
                    <a:pt x="66" y="374"/>
                  </a:lnTo>
                  <a:lnTo>
                    <a:pt x="58" y="382"/>
                  </a:lnTo>
                  <a:lnTo>
                    <a:pt x="50" y="390"/>
                  </a:lnTo>
                  <a:lnTo>
                    <a:pt x="48" y="398"/>
                  </a:lnTo>
                  <a:lnTo>
                    <a:pt x="44" y="418"/>
                  </a:lnTo>
                  <a:lnTo>
                    <a:pt x="38" y="430"/>
                  </a:lnTo>
                  <a:lnTo>
                    <a:pt x="34" y="438"/>
                  </a:lnTo>
                  <a:lnTo>
                    <a:pt x="44" y="452"/>
                  </a:lnTo>
                  <a:lnTo>
                    <a:pt x="48" y="456"/>
                  </a:lnTo>
                  <a:lnTo>
                    <a:pt x="54" y="462"/>
                  </a:lnTo>
                  <a:lnTo>
                    <a:pt x="60" y="460"/>
                  </a:lnTo>
                  <a:lnTo>
                    <a:pt x="70" y="456"/>
                  </a:lnTo>
                  <a:lnTo>
                    <a:pt x="72" y="452"/>
                  </a:lnTo>
                  <a:lnTo>
                    <a:pt x="74" y="450"/>
                  </a:lnTo>
                  <a:lnTo>
                    <a:pt x="86" y="452"/>
                  </a:lnTo>
                  <a:lnTo>
                    <a:pt x="92" y="460"/>
                  </a:lnTo>
                  <a:lnTo>
                    <a:pt x="96" y="468"/>
                  </a:lnTo>
                  <a:lnTo>
                    <a:pt x="102" y="474"/>
                  </a:lnTo>
                  <a:lnTo>
                    <a:pt x="110" y="476"/>
                  </a:lnTo>
                  <a:lnTo>
                    <a:pt x="126" y="474"/>
                  </a:lnTo>
                  <a:lnTo>
                    <a:pt x="134" y="472"/>
                  </a:lnTo>
                  <a:lnTo>
                    <a:pt x="146" y="480"/>
                  </a:lnTo>
                  <a:lnTo>
                    <a:pt x="154" y="476"/>
                  </a:lnTo>
                  <a:lnTo>
                    <a:pt x="162" y="478"/>
                  </a:lnTo>
                  <a:lnTo>
                    <a:pt x="168" y="484"/>
                  </a:lnTo>
                  <a:lnTo>
                    <a:pt x="182" y="478"/>
                  </a:lnTo>
                  <a:lnTo>
                    <a:pt x="194" y="478"/>
                  </a:lnTo>
                  <a:lnTo>
                    <a:pt x="204" y="484"/>
                  </a:lnTo>
                  <a:lnTo>
                    <a:pt x="210" y="488"/>
                  </a:lnTo>
                  <a:lnTo>
                    <a:pt x="218" y="482"/>
                  </a:lnTo>
                  <a:lnTo>
                    <a:pt x="226" y="482"/>
                  </a:lnTo>
                  <a:lnTo>
                    <a:pt x="240" y="478"/>
                  </a:lnTo>
                  <a:lnTo>
                    <a:pt x="250" y="484"/>
                  </a:lnTo>
                  <a:lnTo>
                    <a:pt x="252" y="482"/>
                  </a:lnTo>
                  <a:lnTo>
                    <a:pt x="262" y="488"/>
                  </a:lnTo>
                  <a:lnTo>
                    <a:pt x="270" y="492"/>
                  </a:lnTo>
                  <a:lnTo>
                    <a:pt x="282" y="488"/>
                  </a:lnTo>
                  <a:lnTo>
                    <a:pt x="282" y="482"/>
                  </a:lnTo>
                  <a:lnTo>
                    <a:pt x="276" y="472"/>
                  </a:lnTo>
                  <a:lnTo>
                    <a:pt x="274" y="468"/>
                  </a:lnTo>
                  <a:lnTo>
                    <a:pt x="270" y="452"/>
                  </a:lnTo>
                  <a:lnTo>
                    <a:pt x="308" y="426"/>
                  </a:lnTo>
                  <a:lnTo>
                    <a:pt x="318" y="426"/>
                  </a:lnTo>
                  <a:lnTo>
                    <a:pt x="320" y="424"/>
                  </a:lnTo>
                  <a:lnTo>
                    <a:pt x="306" y="418"/>
                  </a:lnTo>
                  <a:lnTo>
                    <a:pt x="296" y="408"/>
                  </a:lnTo>
                  <a:lnTo>
                    <a:pt x="272" y="388"/>
                  </a:lnTo>
                  <a:lnTo>
                    <a:pt x="270" y="370"/>
                  </a:lnTo>
                  <a:lnTo>
                    <a:pt x="256" y="368"/>
                  </a:lnTo>
                  <a:lnTo>
                    <a:pt x="254" y="352"/>
                  </a:lnTo>
                  <a:lnTo>
                    <a:pt x="252" y="338"/>
                  </a:lnTo>
                  <a:lnTo>
                    <a:pt x="246" y="332"/>
                  </a:lnTo>
                  <a:lnTo>
                    <a:pt x="248" y="326"/>
                  </a:lnTo>
                  <a:lnTo>
                    <a:pt x="252" y="322"/>
                  </a:lnTo>
                  <a:lnTo>
                    <a:pt x="260" y="322"/>
                  </a:lnTo>
                  <a:lnTo>
                    <a:pt x="282" y="316"/>
                  </a:lnTo>
                  <a:lnTo>
                    <a:pt x="330" y="292"/>
                  </a:lnTo>
                  <a:lnTo>
                    <a:pt x="340" y="288"/>
                  </a:lnTo>
                  <a:lnTo>
                    <a:pt x="352" y="282"/>
                  </a:lnTo>
                  <a:lnTo>
                    <a:pt x="360" y="290"/>
                  </a:lnTo>
                  <a:lnTo>
                    <a:pt x="370" y="286"/>
                  </a:lnTo>
                  <a:lnTo>
                    <a:pt x="374" y="274"/>
                  </a:lnTo>
                  <a:lnTo>
                    <a:pt x="372" y="268"/>
                  </a:lnTo>
                  <a:lnTo>
                    <a:pt x="378" y="260"/>
                  </a:lnTo>
                  <a:lnTo>
                    <a:pt x="372" y="252"/>
                  </a:lnTo>
                  <a:lnTo>
                    <a:pt x="364" y="238"/>
                  </a:lnTo>
                  <a:lnTo>
                    <a:pt x="368" y="216"/>
                  </a:lnTo>
                  <a:lnTo>
                    <a:pt x="362" y="204"/>
                  </a:lnTo>
                  <a:lnTo>
                    <a:pt x="358" y="194"/>
                  </a:lnTo>
                  <a:lnTo>
                    <a:pt x="362" y="184"/>
                  </a:lnTo>
                  <a:lnTo>
                    <a:pt x="360" y="176"/>
                  </a:lnTo>
                  <a:lnTo>
                    <a:pt x="344" y="158"/>
                  </a:lnTo>
                  <a:lnTo>
                    <a:pt x="352" y="148"/>
                  </a:lnTo>
                  <a:lnTo>
                    <a:pt x="352" y="132"/>
                  </a:lnTo>
                  <a:lnTo>
                    <a:pt x="354" y="112"/>
                  </a:lnTo>
                  <a:lnTo>
                    <a:pt x="338" y="94"/>
                  </a:lnTo>
                  <a:lnTo>
                    <a:pt x="330" y="82"/>
                  </a:lnTo>
                  <a:lnTo>
                    <a:pt x="320" y="72"/>
                  </a:lnTo>
                  <a:lnTo>
                    <a:pt x="304" y="60"/>
                  </a:lnTo>
                  <a:lnTo>
                    <a:pt x="296" y="54"/>
                  </a:lnTo>
                  <a:lnTo>
                    <a:pt x="288" y="52"/>
                  </a:lnTo>
                  <a:lnTo>
                    <a:pt x="280" y="60"/>
                  </a:lnTo>
                  <a:lnTo>
                    <a:pt x="272" y="64"/>
                  </a:lnTo>
                  <a:lnTo>
                    <a:pt x="250" y="80"/>
                  </a:lnTo>
                  <a:lnTo>
                    <a:pt x="234" y="76"/>
                  </a:lnTo>
                  <a:lnTo>
                    <a:pt x="228" y="76"/>
                  </a:lnTo>
                  <a:lnTo>
                    <a:pt x="228" y="70"/>
                  </a:lnTo>
                  <a:lnTo>
                    <a:pt x="232" y="62"/>
                  </a:lnTo>
                  <a:lnTo>
                    <a:pt x="234" y="56"/>
                  </a:lnTo>
                  <a:lnTo>
                    <a:pt x="216" y="44"/>
                  </a:lnTo>
                  <a:lnTo>
                    <a:pt x="210" y="42"/>
                  </a:lnTo>
                  <a:lnTo>
                    <a:pt x="200" y="34"/>
                  </a:lnTo>
                  <a:lnTo>
                    <a:pt x="196" y="20"/>
                  </a:lnTo>
                  <a:lnTo>
                    <a:pt x="192" y="10"/>
                  </a:lnTo>
                  <a:lnTo>
                    <a:pt x="184" y="12"/>
                  </a:lnTo>
                  <a:lnTo>
                    <a:pt x="176" y="2"/>
                  </a:lnTo>
                  <a:lnTo>
                    <a:pt x="166" y="0"/>
                  </a:lnTo>
                  <a:lnTo>
                    <a:pt x="156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67" name="Freeform 61"/>
            <p:cNvSpPr>
              <a:spLocks/>
            </p:cNvSpPr>
            <p:nvPr/>
          </p:nvSpPr>
          <p:spPr bwMode="auto">
            <a:xfrm>
              <a:off x="1978934" y="2213502"/>
              <a:ext cx="280779" cy="271753"/>
            </a:xfrm>
            <a:custGeom>
              <a:avLst/>
              <a:gdLst>
                <a:gd name="T0" fmla="*/ 392 w 408"/>
                <a:gd name="T1" fmla="*/ 234 h 374"/>
                <a:gd name="T2" fmla="*/ 374 w 408"/>
                <a:gd name="T3" fmla="*/ 208 h 374"/>
                <a:gd name="T4" fmla="*/ 374 w 408"/>
                <a:gd name="T5" fmla="*/ 184 h 374"/>
                <a:gd name="T6" fmla="*/ 372 w 408"/>
                <a:gd name="T7" fmla="*/ 164 h 374"/>
                <a:gd name="T8" fmla="*/ 372 w 408"/>
                <a:gd name="T9" fmla="*/ 150 h 374"/>
                <a:gd name="T10" fmla="*/ 386 w 408"/>
                <a:gd name="T11" fmla="*/ 132 h 374"/>
                <a:gd name="T12" fmla="*/ 380 w 408"/>
                <a:gd name="T13" fmla="*/ 92 h 374"/>
                <a:gd name="T14" fmla="*/ 376 w 408"/>
                <a:gd name="T15" fmla="*/ 66 h 374"/>
                <a:gd name="T16" fmla="*/ 362 w 408"/>
                <a:gd name="T17" fmla="*/ 48 h 374"/>
                <a:gd name="T18" fmla="*/ 344 w 408"/>
                <a:gd name="T19" fmla="*/ 42 h 374"/>
                <a:gd name="T20" fmla="*/ 290 w 408"/>
                <a:gd name="T21" fmla="*/ 40 h 374"/>
                <a:gd name="T22" fmla="*/ 240 w 408"/>
                <a:gd name="T23" fmla="*/ 30 h 374"/>
                <a:gd name="T24" fmla="*/ 218 w 408"/>
                <a:gd name="T25" fmla="*/ 32 h 374"/>
                <a:gd name="T26" fmla="*/ 198 w 408"/>
                <a:gd name="T27" fmla="*/ 34 h 374"/>
                <a:gd name="T28" fmla="*/ 180 w 408"/>
                <a:gd name="T29" fmla="*/ 28 h 374"/>
                <a:gd name="T30" fmla="*/ 176 w 408"/>
                <a:gd name="T31" fmla="*/ 14 h 374"/>
                <a:gd name="T32" fmla="*/ 162 w 408"/>
                <a:gd name="T33" fmla="*/ 2 h 374"/>
                <a:gd name="T34" fmla="*/ 136 w 408"/>
                <a:gd name="T35" fmla="*/ 4 h 374"/>
                <a:gd name="T36" fmla="*/ 112 w 408"/>
                <a:gd name="T37" fmla="*/ 14 h 374"/>
                <a:gd name="T38" fmla="*/ 74 w 408"/>
                <a:gd name="T39" fmla="*/ 32 h 374"/>
                <a:gd name="T40" fmla="*/ 38 w 408"/>
                <a:gd name="T41" fmla="*/ 46 h 374"/>
                <a:gd name="T42" fmla="*/ 18 w 408"/>
                <a:gd name="T43" fmla="*/ 66 h 374"/>
                <a:gd name="T44" fmla="*/ 8 w 408"/>
                <a:gd name="T45" fmla="*/ 94 h 374"/>
                <a:gd name="T46" fmla="*/ 0 w 408"/>
                <a:gd name="T47" fmla="*/ 120 h 374"/>
                <a:gd name="T48" fmla="*/ 18 w 408"/>
                <a:gd name="T49" fmla="*/ 144 h 374"/>
                <a:gd name="T50" fmla="*/ 14 w 408"/>
                <a:gd name="T51" fmla="*/ 164 h 374"/>
                <a:gd name="T52" fmla="*/ 22 w 408"/>
                <a:gd name="T53" fmla="*/ 180 h 374"/>
                <a:gd name="T54" fmla="*/ 28 w 408"/>
                <a:gd name="T55" fmla="*/ 214 h 374"/>
                <a:gd name="T56" fmla="*/ 28 w 408"/>
                <a:gd name="T57" fmla="*/ 228 h 374"/>
                <a:gd name="T58" fmla="*/ 24 w 408"/>
                <a:gd name="T59" fmla="*/ 240 h 374"/>
                <a:gd name="T60" fmla="*/ 36 w 408"/>
                <a:gd name="T61" fmla="*/ 246 h 374"/>
                <a:gd name="T62" fmla="*/ 46 w 408"/>
                <a:gd name="T63" fmla="*/ 254 h 374"/>
                <a:gd name="T64" fmla="*/ 58 w 408"/>
                <a:gd name="T65" fmla="*/ 274 h 374"/>
                <a:gd name="T66" fmla="*/ 70 w 408"/>
                <a:gd name="T67" fmla="*/ 288 h 374"/>
                <a:gd name="T68" fmla="*/ 94 w 408"/>
                <a:gd name="T69" fmla="*/ 294 h 374"/>
                <a:gd name="T70" fmla="*/ 110 w 408"/>
                <a:gd name="T71" fmla="*/ 294 h 374"/>
                <a:gd name="T72" fmla="*/ 134 w 408"/>
                <a:gd name="T73" fmla="*/ 316 h 374"/>
                <a:gd name="T74" fmla="*/ 162 w 408"/>
                <a:gd name="T75" fmla="*/ 326 h 374"/>
                <a:gd name="T76" fmla="*/ 182 w 408"/>
                <a:gd name="T77" fmla="*/ 324 h 374"/>
                <a:gd name="T78" fmla="*/ 204 w 408"/>
                <a:gd name="T79" fmla="*/ 338 h 374"/>
                <a:gd name="T80" fmla="*/ 216 w 408"/>
                <a:gd name="T81" fmla="*/ 338 h 374"/>
                <a:gd name="T82" fmla="*/ 232 w 408"/>
                <a:gd name="T83" fmla="*/ 346 h 374"/>
                <a:gd name="T84" fmla="*/ 252 w 408"/>
                <a:gd name="T85" fmla="*/ 360 h 374"/>
                <a:gd name="T86" fmla="*/ 268 w 408"/>
                <a:gd name="T87" fmla="*/ 362 h 374"/>
                <a:gd name="T88" fmla="*/ 280 w 408"/>
                <a:gd name="T89" fmla="*/ 354 h 374"/>
                <a:gd name="T90" fmla="*/ 356 w 408"/>
                <a:gd name="T91" fmla="*/ 374 h 374"/>
                <a:gd name="T92" fmla="*/ 358 w 408"/>
                <a:gd name="T93" fmla="*/ 354 h 374"/>
                <a:gd name="T94" fmla="*/ 396 w 408"/>
                <a:gd name="T95" fmla="*/ 294 h 374"/>
                <a:gd name="T96" fmla="*/ 408 w 408"/>
                <a:gd name="T97" fmla="*/ 27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8" h="374">
                  <a:moveTo>
                    <a:pt x="400" y="250"/>
                  </a:moveTo>
                  <a:lnTo>
                    <a:pt x="392" y="234"/>
                  </a:lnTo>
                  <a:lnTo>
                    <a:pt x="382" y="216"/>
                  </a:lnTo>
                  <a:lnTo>
                    <a:pt x="374" y="208"/>
                  </a:lnTo>
                  <a:lnTo>
                    <a:pt x="372" y="196"/>
                  </a:lnTo>
                  <a:lnTo>
                    <a:pt x="374" y="184"/>
                  </a:lnTo>
                  <a:lnTo>
                    <a:pt x="376" y="172"/>
                  </a:lnTo>
                  <a:lnTo>
                    <a:pt x="372" y="164"/>
                  </a:lnTo>
                  <a:lnTo>
                    <a:pt x="364" y="158"/>
                  </a:lnTo>
                  <a:lnTo>
                    <a:pt x="372" y="150"/>
                  </a:lnTo>
                  <a:lnTo>
                    <a:pt x="382" y="136"/>
                  </a:lnTo>
                  <a:lnTo>
                    <a:pt x="386" y="132"/>
                  </a:lnTo>
                  <a:lnTo>
                    <a:pt x="384" y="106"/>
                  </a:lnTo>
                  <a:lnTo>
                    <a:pt x="380" y="92"/>
                  </a:lnTo>
                  <a:lnTo>
                    <a:pt x="376" y="78"/>
                  </a:lnTo>
                  <a:lnTo>
                    <a:pt x="376" y="66"/>
                  </a:lnTo>
                  <a:lnTo>
                    <a:pt x="368" y="54"/>
                  </a:lnTo>
                  <a:lnTo>
                    <a:pt x="362" y="48"/>
                  </a:lnTo>
                  <a:lnTo>
                    <a:pt x="356" y="42"/>
                  </a:lnTo>
                  <a:lnTo>
                    <a:pt x="344" y="42"/>
                  </a:lnTo>
                  <a:lnTo>
                    <a:pt x="308" y="40"/>
                  </a:lnTo>
                  <a:lnTo>
                    <a:pt x="290" y="40"/>
                  </a:lnTo>
                  <a:lnTo>
                    <a:pt x="254" y="36"/>
                  </a:lnTo>
                  <a:lnTo>
                    <a:pt x="240" y="30"/>
                  </a:lnTo>
                  <a:lnTo>
                    <a:pt x="226" y="28"/>
                  </a:lnTo>
                  <a:lnTo>
                    <a:pt x="218" y="32"/>
                  </a:lnTo>
                  <a:lnTo>
                    <a:pt x="208" y="38"/>
                  </a:lnTo>
                  <a:lnTo>
                    <a:pt x="198" y="34"/>
                  </a:lnTo>
                  <a:lnTo>
                    <a:pt x="190" y="28"/>
                  </a:lnTo>
                  <a:lnTo>
                    <a:pt x="180" y="28"/>
                  </a:lnTo>
                  <a:lnTo>
                    <a:pt x="178" y="24"/>
                  </a:lnTo>
                  <a:lnTo>
                    <a:pt x="176" y="14"/>
                  </a:lnTo>
                  <a:lnTo>
                    <a:pt x="174" y="12"/>
                  </a:lnTo>
                  <a:lnTo>
                    <a:pt x="162" y="2"/>
                  </a:lnTo>
                  <a:lnTo>
                    <a:pt x="152" y="0"/>
                  </a:lnTo>
                  <a:lnTo>
                    <a:pt x="136" y="4"/>
                  </a:lnTo>
                  <a:lnTo>
                    <a:pt x="122" y="8"/>
                  </a:lnTo>
                  <a:lnTo>
                    <a:pt x="112" y="14"/>
                  </a:lnTo>
                  <a:lnTo>
                    <a:pt x="92" y="26"/>
                  </a:lnTo>
                  <a:lnTo>
                    <a:pt x="74" y="32"/>
                  </a:lnTo>
                  <a:lnTo>
                    <a:pt x="56" y="38"/>
                  </a:lnTo>
                  <a:lnTo>
                    <a:pt x="38" y="46"/>
                  </a:lnTo>
                  <a:lnTo>
                    <a:pt x="28" y="56"/>
                  </a:lnTo>
                  <a:lnTo>
                    <a:pt x="18" y="66"/>
                  </a:lnTo>
                  <a:lnTo>
                    <a:pt x="10" y="72"/>
                  </a:lnTo>
                  <a:lnTo>
                    <a:pt x="8" y="94"/>
                  </a:lnTo>
                  <a:lnTo>
                    <a:pt x="8" y="108"/>
                  </a:lnTo>
                  <a:lnTo>
                    <a:pt x="0" y="120"/>
                  </a:lnTo>
                  <a:lnTo>
                    <a:pt x="16" y="138"/>
                  </a:lnTo>
                  <a:lnTo>
                    <a:pt x="18" y="144"/>
                  </a:lnTo>
                  <a:lnTo>
                    <a:pt x="14" y="156"/>
                  </a:lnTo>
                  <a:lnTo>
                    <a:pt x="14" y="164"/>
                  </a:lnTo>
                  <a:lnTo>
                    <a:pt x="22" y="174"/>
                  </a:lnTo>
                  <a:lnTo>
                    <a:pt x="22" y="180"/>
                  </a:lnTo>
                  <a:lnTo>
                    <a:pt x="20" y="202"/>
                  </a:lnTo>
                  <a:lnTo>
                    <a:pt x="28" y="214"/>
                  </a:lnTo>
                  <a:lnTo>
                    <a:pt x="32" y="222"/>
                  </a:lnTo>
                  <a:lnTo>
                    <a:pt x="28" y="228"/>
                  </a:lnTo>
                  <a:lnTo>
                    <a:pt x="28" y="236"/>
                  </a:lnTo>
                  <a:lnTo>
                    <a:pt x="24" y="240"/>
                  </a:lnTo>
                  <a:lnTo>
                    <a:pt x="24" y="246"/>
                  </a:lnTo>
                  <a:lnTo>
                    <a:pt x="36" y="246"/>
                  </a:lnTo>
                  <a:lnTo>
                    <a:pt x="44" y="250"/>
                  </a:lnTo>
                  <a:lnTo>
                    <a:pt x="46" y="254"/>
                  </a:lnTo>
                  <a:lnTo>
                    <a:pt x="46" y="264"/>
                  </a:lnTo>
                  <a:lnTo>
                    <a:pt x="58" y="274"/>
                  </a:lnTo>
                  <a:lnTo>
                    <a:pt x="68" y="278"/>
                  </a:lnTo>
                  <a:lnTo>
                    <a:pt x="70" y="288"/>
                  </a:lnTo>
                  <a:lnTo>
                    <a:pt x="82" y="304"/>
                  </a:lnTo>
                  <a:lnTo>
                    <a:pt x="94" y="294"/>
                  </a:lnTo>
                  <a:lnTo>
                    <a:pt x="104" y="292"/>
                  </a:lnTo>
                  <a:lnTo>
                    <a:pt x="110" y="294"/>
                  </a:lnTo>
                  <a:lnTo>
                    <a:pt x="130" y="314"/>
                  </a:lnTo>
                  <a:lnTo>
                    <a:pt x="134" y="316"/>
                  </a:lnTo>
                  <a:lnTo>
                    <a:pt x="156" y="326"/>
                  </a:lnTo>
                  <a:lnTo>
                    <a:pt x="162" y="326"/>
                  </a:lnTo>
                  <a:lnTo>
                    <a:pt x="172" y="324"/>
                  </a:lnTo>
                  <a:lnTo>
                    <a:pt x="182" y="324"/>
                  </a:lnTo>
                  <a:lnTo>
                    <a:pt x="192" y="326"/>
                  </a:lnTo>
                  <a:lnTo>
                    <a:pt x="204" y="338"/>
                  </a:lnTo>
                  <a:lnTo>
                    <a:pt x="210" y="344"/>
                  </a:lnTo>
                  <a:lnTo>
                    <a:pt x="216" y="338"/>
                  </a:lnTo>
                  <a:lnTo>
                    <a:pt x="222" y="338"/>
                  </a:lnTo>
                  <a:lnTo>
                    <a:pt x="232" y="346"/>
                  </a:lnTo>
                  <a:lnTo>
                    <a:pt x="244" y="354"/>
                  </a:lnTo>
                  <a:lnTo>
                    <a:pt x="252" y="360"/>
                  </a:lnTo>
                  <a:lnTo>
                    <a:pt x="262" y="364"/>
                  </a:lnTo>
                  <a:lnTo>
                    <a:pt x="268" y="362"/>
                  </a:lnTo>
                  <a:lnTo>
                    <a:pt x="272" y="356"/>
                  </a:lnTo>
                  <a:lnTo>
                    <a:pt x="280" y="354"/>
                  </a:lnTo>
                  <a:lnTo>
                    <a:pt x="294" y="358"/>
                  </a:lnTo>
                  <a:lnTo>
                    <a:pt x="356" y="374"/>
                  </a:lnTo>
                  <a:lnTo>
                    <a:pt x="366" y="366"/>
                  </a:lnTo>
                  <a:lnTo>
                    <a:pt x="358" y="354"/>
                  </a:lnTo>
                  <a:lnTo>
                    <a:pt x="352" y="334"/>
                  </a:lnTo>
                  <a:lnTo>
                    <a:pt x="396" y="294"/>
                  </a:lnTo>
                  <a:lnTo>
                    <a:pt x="404" y="286"/>
                  </a:lnTo>
                  <a:lnTo>
                    <a:pt x="408" y="270"/>
                  </a:lnTo>
                  <a:lnTo>
                    <a:pt x="400" y="25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68" name="Freeform 62"/>
            <p:cNvSpPr>
              <a:spLocks/>
            </p:cNvSpPr>
            <p:nvPr/>
          </p:nvSpPr>
          <p:spPr bwMode="auto">
            <a:xfrm>
              <a:off x="1978934" y="2213502"/>
              <a:ext cx="280779" cy="271753"/>
            </a:xfrm>
            <a:custGeom>
              <a:avLst/>
              <a:gdLst>
                <a:gd name="T0" fmla="*/ 8 w 408"/>
                <a:gd name="T1" fmla="*/ 94 h 374"/>
                <a:gd name="T2" fmla="*/ 0 w 408"/>
                <a:gd name="T3" fmla="*/ 120 h 374"/>
                <a:gd name="T4" fmla="*/ 18 w 408"/>
                <a:gd name="T5" fmla="*/ 144 h 374"/>
                <a:gd name="T6" fmla="*/ 14 w 408"/>
                <a:gd name="T7" fmla="*/ 164 h 374"/>
                <a:gd name="T8" fmla="*/ 22 w 408"/>
                <a:gd name="T9" fmla="*/ 180 h 374"/>
                <a:gd name="T10" fmla="*/ 28 w 408"/>
                <a:gd name="T11" fmla="*/ 214 h 374"/>
                <a:gd name="T12" fmla="*/ 28 w 408"/>
                <a:gd name="T13" fmla="*/ 228 h 374"/>
                <a:gd name="T14" fmla="*/ 24 w 408"/>
                <a:gd name="T15" fmla="*/ 240 h 374"/>
                <a:gd name="T16" fmla="*/ 36 w 408"/>
                <a:gd name="T17" fmla="*/ 246 h 374"/>
                <a:gd name="T18" fmla="*/ 46 w 408"/>
                <a:gd name="T19" fmla="*/ 254 h 374"/>
                <a:gd name="T20" fmla="*/ 58 w 408"/>
                <a:gd name="T21" fmla="*/ 274 h 374"/>
                <a:gd name="T22" fmla="*/ 70 w 408"/>
                <a:gd name="T23" fmla="*/ 288 h 374"/>
                <a:gd name="T24" fmla="*/ 94 w 408"/>
                <a:gd name="T25" fmla="*/ 294 h 374"/>
                <a:gd name="T26" fmla="*/ 110 w 408"/>
                <a:gd name="T27" fmla="*/ 294 h 374"/>
                <a:gd name="T28" fmla="*/ 134 w 408"/>
                <a:gd name="T29" fmla="*/ 316 h 374"/>
                <a:gd name="T30" fmla="*/ 162 w 408"/>
                <a:gd name="T31" fmla="*/ 326 h 374"/>
                <a:gd name="T32" fmla="*/ 182 w 408"/>
                <a:gd name="T33" fmla="*/ 324 h 374"/>
                <a:gd name="T34" fmla="*/ 204 w 408"/>
                <a:gd name="T35" fmla="*/ 338 h 374"/>
                <a:gd name="T36" fmla="*/ 216 w 408"/>
                <a:gd name="T37" fmla="*/ 338 h 374"/>
                <a:gd name="T38" fmla="*/ 232 w 408"/>
                <a:gd name="T39" fmla="*/ 346 h 374"/>
                <a:gd name="T40" fmla="*/ 252 w 408"/>
                <a:gd name="T41" fmla="*/ 360 h 374"/>
                <a:gd name="T42" fmla="*/ 268 w 408"/>
                <a:gd name="T43" fmla="*/ 362 h 374"/>
                <a:gd name="T44" fmla="*/ 280 w 408"/>
                <a:gd name="T45" fmla="*/ 354 h 374"/>
                <a:gd name="T46" fmla="*/ 356 w 408"/>
                <a:gd name="T47" fmla="*/ 374 h 374"/>
                <a:gd name="T48" fmla="*/ 358 w 408"/>
                <a:gd name="T49" fmla="*/ 354 h 374"/>
                <a:gd name="T50" fmla="*/ 396 w 408"/>
                <a:gd name="T51" fmla="*/ 294 h 374"/>
                <a:gd name="T52" fmla="*/ 408 w 408"/>
                <a:gd name="T53" fmla="*/ 270 h 374"/>
                <a:gd name="T54" fmla="*/ 392 w 408"/>
                <a:gd name="T55" fmla="*/ 234 h 374"/>
                <a:gd name="T56" fmla="*/ 374 w 408"/>
                <a:gd name="T57" fmla="*/ 208 h 374"/>
                <a:gd name="T58" fmla="*/ 374 w 408"/>
                <a:gd name="T59" fmla="*/ 184 h 374"/>
                <a:gd name="T60" fmla="*/ 372 w 408"/>
                <a:gd name="T61" fmla="*/ 164 h 374"/>
                <a:gd name="T62" fmla="*/ 372 w 408"/>
                <a:gd name="T63" fmla="*/ 150 h 374"/>
                <a:gd name="T64" fmla="*/ 386 w 408"/>
                <a:gd name="T65" fmla="*/ 132 h 374"/>
                <a:gd name="T66" fmla="*/ 380 w 408"/>
                <a:gd name="T67" fmla="*/ 92 h 374"/>
                <a:gd name="T68" fmla="*/ 376 w 408"/>
                <a:gd name="T69" fmla="*/ 66 h 374"/>
                <a:gd name="T70" fmla="*/ 356 w 408"/>
                <a:gd name="T71" fmla="*/ 42 h 374"/>
                <a:gd name="T72" fmla="*/ 308 w 408"/>
                <a:gd name="T73" fmla="*/ 40 h 374"/>
                <a:gd name="T74" fmla="*/ 254 w 408"/>
                <a:gd name="T75" fmla="*/ 36 h 374"/>
                <a:gd name="T76" fmla="*/ 226 w 408"/>
                <a:gd name="T77" fmla="*/ 28 h 374"/>
                <a:gd name="T78" fmla="*/ 208 w 408"/>
                <a:gd name="T79" fmla="*/ 38 h 374"/>
                <a:gd name="T80" fmla="*/ 190 w 408"/>
                <a:gd name="T81" fmla="*/ 28 h 374"/>
                <a:gd name="T82" fmla="*/ 178 w 408"/>
                <a:gd name="T83" fmla="*/ 24 h 374"/>
                <a:gd name="T84" fmla="*/ 162 w 408"/>
                <a:gd name="T85" fmla="*/ 2 h 374"/>
                <a:gd name="T86" fmla="*/ 136 w 408"/>
                <a:gd name="T87" fmla="*/ 4 h 374"/>
                <a:gd name="T88" fmla="*/ 112 w 408"/>
                <a:gd name="T89" fmla="*/ 14 h 374"/>
                <a:gd name="T90" fmla="*/ 74 w 408"/>
                <a:gd name="T91" fmla="*/ 32 h 374"/>
                <a:gd name="T92" fmla="*/ 38 w 408"/>
                <a:gd name="T93" fmla="*/ 46 h 374"/>
                <a:gd name="T94" fmla="*/ 18 w 408"/>
                <a:gd name="T95" fmla="*/ 66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8" h="374">
                  <a:moveTo>
                    <a:pt x="10" y="72"/>
                  </a:moveTo>
                  <a:lnTo>
                    <a:pt x="8" y="94"/>
                  </a:lnTo>
                  <a:lnTo>
                    <a:pt x="8" y="108"/>
                  </a:lnTo>
                  <a:lnTo>
                    <a:pt x="0" y="120"/>
                  </a:lnTo>
                  <a:lnTo>
                    <a:pt x="16" y="138"/>
                  </a:lnTo>
                  <a:lnTo>
                    <a:pt x="18" y="144"/>
                  </a:lnTo>
                  <a:lnTo>
                    <a:pt x="14" y="156"/>
                  </a:lnTo>
                  <a:lnTo>
                    <a:pt x="14" y="164"/>
                  </a:lnTo>
                  <a:lnTo>
                    <a:pt x="22" y="174"/>
                  </a:lnTo>
                  <a:lnTo>
                    <a:pt x="22" y="180"/>
                  </a:lnTo>
                  <a:lnTo>
                    <a:pt x="20" y="202"/>
                  </a:lnTo>
                  <a:lnTo>
                    <a:pt x="28" y="214"/>
                  </a:lnTo>
                  <a:lnTo>
                    <a:pt x="32" y="222"/>
                  </a:lnTo>
                  <a:lnTo>
                    <a:pt x="28" y="228"/>
                  </a:lnTo>
                  <a:lnTo>
                    <a:pt x="28" y="236"/>
                  </a:lnTo>
                  <a:lnTo>
                    <a:pt x="24" y="240"/>
                  </a:lnTo>
                  <a:lnTo>
                    <a:pt x="24" y="246"/>
                  </a:lnTo>
                  <a:lnTo>
                    <a:pt x="36" y="246"/>
                  </a:lnTo>
                  <a:lnTo>
                    <a:pt x="44" y="250"/>
                  </a:lnTo>
                  <a:lnTo>
                    <a:pt x="46" y="254"/>
                  </a:lnTo>
                  <a:lnTo>
                    <a:pt x="46" y="264"/>
                  </a:lnTo>
                  <a:lnTo>
                    <a:pt x="58" y="274"/>
                  </a:lnTo>
                  <a:lnTo>
                    <a:pt x="68" y="278"/>
                  </a:lnTo>
                  <a:lnTo>
                    <a:pt x="70" y="288"/>
                  </a:lnTo>
                  <a:lnTo>
                    <a:pt x="82" y="304"/>
                  </a:lnTo>
                  <a:lnTo>
                    <a:pt x="94" y="294"/>
                  </a:lnTo>
                  <a:lnTo>
                    <a:pt x="104" y="292"/>
                  </a:lnTo>
                  <a:lnTo>
                    <a:pt x="110" y="294"/>
                  </a:lnTo>
                  <a:lnTo>
                    <a:pt x="130" y="314"/>
                  </a:lnTo>
                  <a:lnTo>
                    <a:pt x="134" y="316"/>
                  </a:lnTo>
                  <a:lnTo>
                    <a:pt x="156" y="326"/>
                  </a:lnTo>
                  <a:lnTo>
                    <a:pt x="162" y="326"/>
                  </a:lnTo>
                  <a:lnTo>
                    <a:pt x="172" y="324"/>
                  </a:lnTo>
                  <a:lnTo>
                    <a:pt x="182" y="324"/>
                  </a:lnTo>
                  <a:lnTo>
                    <a:pt x="192" y="326"/>
                  </a:lnTo>
                  <a:lnTo>
                    <a:pt x="204" y="338"/>
                  </a:lnTo>
                  <a:lnTo>
                    <a:pt x="210" y="344"/>
                  </a:lnTo>
                  <a:lnTo>
                    <a:pt x="216" y="338"/>
                  </a:lnTo>
                  <a:lnTo>
                    <a:pt x="222" y="338"/>
                  </a:lnTo>
                  <a:lnTo>
                    <a:pt x="232" y="346"/>
                  </a:lnTo>
                  <a:lnTo>
                    <a:pt x="244" y="354"/>
                  </a:lnTo>
                  <a:lnTo>
                    <a:pt x="252" y="360"/>
                  </a:lnTo>
                  <a:lnTo>
                    <a:pt x="262" y="364"/>
                  </a:lnTo>
                  <a:lnTo>
                    <a:pt x="268" y="362"/>
                  </a:lnTo>
                  <a:lnTo>
                    <a:pt x="272" y="356"/>
                  </a:lnTo>
                  <a:lnTo>
                    <a:pt x="280" y="354"/>
                  </a:lnTo>
                  <a:lnTo>
                    <a:pt x="294" y="358"/>
                  </a:lnTo>
                  <a:lnTo>
                    <a:pt x="356" y="374"/>
                  </a:lnTo>
                  <a:lnTo>
                    <a:pt x="366" y="366"/>
                  </a:lnTo>
                  <a:lnTo>
                    <a:pt x="358" y="354"/>
                  </a:lnTo>
                  <a:lnTo>
                    <a:pt x="352" y="334"/>
                  </a:lnTo>
                  <a:lnTo>
                    <a:pt x="396" y="294"/>
                  </a:lnTo>
                  <a:lnTo>
                    <a:pt x="404" y="286"/>
                  </a:lnTo>
                  <a:lnTo>
                    <a:pt x="408" y="270"/>
                  </a:lnTo>
                  <a:lnTo>
                    <a:pt x="400" y="250"/>
                  </a:lnTo>
                  <a:lnTo>
                    <a:pt x="392" y="234"/>
                  </a:lnTo>
                  <a:lnTo>
                    <a:pt x="382" y="216"/>
                  </a:lnTo>
                  <a:lnTo>
                    <a:pt x="374" y="208"/>
                  </a:lnTo>
                  <a:lnTo>
                    <a:pt x="372" y="196"/>
                  </a:lnTo>
                  <a:lnTo>
                    <a:pt x="374" y="184"/>
                  </a:lnTo>
                  <a:lnTo>
                    <a:pt x="376" y="172"/>
                  </a:lnTo>
                  <a:lnTo>
                    <a:pt x="372" y="164"/>
                  </a:lnTo>
                  <a:lnTo>
                    <a:pt x="364" y="158"/>
                  </a:lnTo>
                  <a:lnTo>
                    <a:pt x="372" y="150"/>
                  </a:lnTo>
                  <a:lnTo>
                    <a:pt x="382" y="136"/>
                  </a:lnTo>
                  <a:lnTo>
                    <a:pt x="386" y="132"/>
                  </a:lnTo>
                  <a:lnTo>
                    <a:pt x="384" y="106"/>
                  </a:lnTo>
                  <a:lnTo>
                    <a:pt x="380" y="92"/>
                  </a:lnTo>
                  <a:lnTo>
                    <a:pt x="376" y="78"/>
                  </a:lnTo>
                  <a:lnTo>
                    <a:pt x="376" y="66"/>
                  </a:lnTo>
                  <a:lnTo>
                    <a:pt x="368" y="54"/>
                  </a:lnTo>
                  <a:lnTo>
                    <a:pt x="356" y="42"/>
                  </a:lnTo>
                  <a:lnTo>
                    <a:pt x="344" y="42"/>
                  </a:lnTo>
                  <a:lnTo>
                    <a:pt x="308" y="40"/>
                  </a:lnTo>
                  <a:lnTo>
                    <a:pt x="290" y="40"/>
                  </a:lnTo>
                  <a:lnTo>
                    <a:pt x="254" y="36"/>
                  </a:lnTo>
                  <a:lnTo>
                    <a:pt x="240" y="30"/>
                  </a:lnTo>
                  <a:lnTo>
                    <a:pt x="226" y="28"/>
                  </a:lnTo>
                  <a:lnTo>
                    <a:pt x="218" y="32"/>
                  </a:lnTo>
                  <a:lnTo>
                    <a:pt x="208" y="38"/>
                  </a:lnTo>
                  <a:lnTo>
                    <a:pt x="198" y="34"/>
                  </a:lnTo>
                  <a:lnTo>
                    <a:pt x="190" y="28"/>
                  </a:lnTo>
                  <a:lnTo>
                    <a:pt x="180" y="28"/>
                  </a:lnTo>
                  <a:lnTo>
                    <a:pt x="178" y="24"/>
                  </a:lnTo>
                  <a:lnTo>
                    <a:pt x="174" y="12"/>
                  </a:lnTo>
                  <a:lnTo>
                    <a:pt x="162" y="2"/>
                  </a:lnTo>
                  <a:lnTo>
                    <a:pt x="152" y="0"/>
                  </a:lnTo>
                  <a:lnTo>
                    <a:pt x="136" y="4"/>
                  </a:lnTo>
                  <a:lnTo>
                    <a:pt x="122" y="8"/>
                  </a:lnTo>
                  <a:lnTo>
                    <a:pt x="112" y="14"/>
                  </a:lnTo>
                  <a:lnTo>
                    <a:pt x="92" y="26"/>
                  </a:lnTo>
                  <a:lnTo>
                    <a:pt x="74" y="32"/>
                  </a:lnTo>
                  <a:lnTo>
                    <a:pt x="56" y="38"/>
                  </a:lnTo>
                  <a:lnTo>
                    <a:pt x="38" y="46"/>
                  </a:lnTo>
                  <a:lnTo>
                    <a:pt x="28" y="56"/>
                  </a:lnTo>
                  <a:lnTo>
                    <a:pt x="18" y="66"/>
                  </a:lnTo>
                  <a:lnTo>
                    <a:pt x="10" y="7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70" name="Freeform 64"/>
            <p:cNvSpPr>
              <a:spLocks/>
            </p:cNvSpPr>
            <p:nvPr/>
          </p:nvSpPr>
          <p:spPr bwMode="auto">
            <a:xfrm>
              <a:off x="2167497" y="2146654"/>
              <a:ext cx="145895" cy="117711"/>
            </a:xfrm>
            <a:custGeom>
              <a:avLst/>
              <a:gdLst>
                <a:gd name="T0" fmla="*/ 210 w 212"/>
                <a:gd name="T1" fmla="*/ 38 h 162"/>
                <a:gd name="T2" fmla="*/ 200 w 212"/>
                <a:gd name="T3" fmla="*/ 34 h 162"/>
                <a:gd name="T4" fmla="*/ 198 w 212"/>
                <a:gd name="T5" fmla="*/ 34 h 162"/>
                <a:gd name="T6" fmla="*/ 184 w 212"/>
                <a:gd name="T7" fmla="*/ 22 h 162"/>
                <a:gd name="T8" fmla="*/ 176 w 212"/>
                <a:gd name="T9" fmla="*/ 12 h 162"/>
                <a:gd name="T10" fmla="*/ 164 w 212"/>
                <a:gd name="T11" fmla="*/ 12 h 162"/>
                <a:gd name="T12" fmla="*/ 146 w 212"/>
                <a:gd name="T13" fmla="*/ 12 h 162"/>
                <a:gd name="T14" fmla="*/ 142 w 212"/>
                <a:gd name="T15" fmla="*/ 10 h 162"/>
                <a:gd name="T16" fmla="*/ 138 w 212"/>
                <a:gd name="T17" fmla="*/ 0 h 162"/>
                <a:gd name="T18" fmla="*/ 132 w 212"/>
                <a:gd name="T19" fmla="*/ 0 h 162"/>
                <a:gd name="T20" fmla="*/ 116 w 212"/>
                <a:gd name="T21" fmla="*/ 0 h 162"/>
                <a:gd name="T22" fmla="*/ 108 w 212"/>
                <a:gd name="T23" fmla="*/ 8 h 162"/>
                <a:gd name="T24" fmla="*/ 102 w 212"/>
                <a:gd name="T25" fmla="*/ 6 h 162"/>
                <a:gd name="T26" fmla="*/ 92 w 212"/>
                <a:gd name="T27" fmla="*/ 4 h 162"/>
                <a:gd name="T28" fmla="*/ 86 w 212"/>
                <a:gd name="T29" fmla="*/ 2 h 162"/>
                <a:gd name="T30" fmla="*/ 78 w 212"/>
                <a:gd name="T31" fmla="*/ 4 h 162"/>
                <a:gd name="T32" fmla="*/ 72 w 212"/>
                <a:gd name="T33" fmla="*/ 8 h 162"/>
                <a:gd name="T34" fmla="*/ 62 w 212"/>
                <a:gd name="T35" fmla="*/ 4 h 162"/>
                <a:gd name="T36" fmla="*/ 38 w 212"/>
                <a:gd name="T37" fmla="*/ 0 h 162"/>
                <a:gd name="T38" fmla="*/ 32 w 212"/>
                <a:gd name="T39" fmla="*/ 0 h 162"/>
                <a:gd name="T40" fmla="*/ 26 w 212"/>
                <a:gd name="T41" fmla="*/ 4 h 162"/>
                <a:gd name="T42" fmla="*/ 14 w 212"/>
                <a:gd name="T43" fmla="*/ 12 h 162"/>
                <a:gd name="T44" fmla="*/ 2 w 212"/>
                <a:gd name="T45" fmla="*/ 16 h 162"/>
                <a:gd name="T46" fmla="*/ 0 w 212"/>
                <a:gd name="T47" fmla="*/ 22 h 162"/>
                <a:gd name="T48" fmla="*/ 2 w 212"/>
                <a:gd name="T49" fmla="*/ 42 h 162"/>
                <a:gd name="T50" fmla="*/ 12 w 212"/>
                <a:gd name="T51" fmla="*/ 70 h 162"/>
                <a:gd name="T52" fmla="*/ 20 w 212"/>
                <a:gd name="T53" fmla="*/ 78 h 162"/>
                <a:gd name="T54" fmla="*/ 40 w 212"/>
                <a:gd name="T55" fmla="*/ 84 h 162"/>
                <a:gd name="T56" fmla="*/ 48 w 212"/>
                <a:gd name="T57" fmla="*/ 86 h 162"/>
                <a:gd name="T58" fmla="*/ 50 w 212"/>
                <a:gd name="T59" fmla="*/ 96 h 162"/>
                <a:gd name="T60" fmla="*/ 50 w 212"/>
                <a:gd name="T61" fmla="*/ 112 h 162"/>
                <a:gd name="T62" fmla="*/ 68 w 212"/>
                <a:gd name="T63" fmla="*/ 130 h 162"/>
                <a:gd name="T64" fmla="*/ 76 w 212"/>
                <a:gd name="T65" fmla="*/ 134 h 162"/>
                <a:gd name="T66" fmla="*/ 80 w 212"/>
                <a:gd name="T67" fmla="*/ 136 h 162"/>
                <a:gd name="T68" fmla="*/ 86 w 212"/>
                <a:gd name="T69" fmla="*/ 138 h 162"/>
                <a:gd name="T70" fmla="*/ 102 w 212"/>
                <a:gd name="T71" fmla="*/ 158 h 162"/>
                <a:gd name="T72" fmla="*/ 108 w 212"/>
                <a:gd name="T73" fmla="*/ 154 h 162"/>
                <a:gd name="T74" fmla="*/ 118 w 212"/>
                <a:gd name="T75" fmla="*/ 154 h 162"/>
                <a:gd name="T76" fmla="*/ 132 w 212"/>
                <a:gd name="T77" fmla="*/ 162 h 162"/>
                <a:gd name="T78" fmla="*/ 140 w 212"/>
                <a:gd name="T79" fmla="*/ 156 h 162"/>
                <a:gd name="T80" fmla="*/ 154 w 212"/>
                <a:gd name="T81" fmla="*/ 142 h 162"/>
                <a:gd name="T82" fmla="*/ 164 w 212"/>
                <a:gd name="T83" fmla="*/ 136 h 162"/>
                <a:gd name="T84" fmla="*/ 174 w 212"/>
                <a:gd name="T85" fmla="*/ 140 h 162"/>
                <a:gd name="T86" fmla="*/ 180 w 212"/>
                <a:gd name="T87" fmla="*/ 138 h 162"/>
                <a:gd name="T88" fmla="*/ 180 w 212"/>
                <a:gd name="T89" fmla="*/ 132 h 162"/>
                <a:gd name="T90" fmla="*/ 182 w 212"/>
                <a:gd name="T91" fmla="*/ 102 h 162"/>
                <a:gd name="T92" fmla="*/ 188 w 212"/>
                <a:gd name="T93" fmla="*/ 92 h 162"/>
                <a:gd name="T94" fmla="*/ 188 w 212"/>
                <a:gd name="T95" fmla="*/ 78 h 162"/>
                <a:gd name="T96" fmla="*/ 190 w 212"/>
                <a:gd name="T97" fmla="*/ 74 h 162"/>
                <a:gd name="T98" fmla="*/ 200 w 212"/>
                <a:gd name="T99" fmla="*/ 66 h 162"/>
                <a:gd name="T100" fmla="*/ 212 w 212"/>
                <a:gd name="T101" fmla="*/ 64 h 162"/>
                <a:gd name="T102" fmla="*/ 212 w 212"/>
                <a:gd name="T103" fmla="*/ 48 h 162"/>
                <a:gd name="T104" fmla="*/ 210 w 212"/>
                <a:gd name="T105" fmla="*/ 38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2" h="162">
                  <a:moveTo>
                    <a:pt x="210" y="38"/>
                  </a:moveTo>
                  <a:lnTo>
                    <a:pt x="200" y="34"/>
                  </a:lnTo>
                  <a:lnTo>
                    <a:pt x="198" y="34"/>
                  </a:lnTo>
                  <a:lnTo>
                    <a:pt x="184" y="22"/>
                  </a:lnTo>
                  <a:lnTo>
                    <a:pt x="176" y="12"/>
                  </a:lnTo>
                  <a:lnTo>
                    <a:pt x="164" y="12"/>
                  </a:lnTo>
                  <a:lnTo>
                    <a:pt x="146" y="12"/>
                  </a:lnTo>
                  <a:lnTo>
                    <a:pt x="142" y="10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16" y="0"/>
                  </a:lnTo>
                  <a:lnTo>
                    <a:pt x="108" y="8"/>
                  </a:lnTo>
                  <a:lnTo>
                    <a:pt x="102" y="6"/>
                  </a:lnTo>
                  <a:lnTo>
                    <a:pt x="92" y="4"/>
                  </a:lnTo>
                  <a:lnTo>
                    <a:pt x="86" y="2"/>
                  </a:lnTo>
                  <a:lnTo>
                    <a:pt x="78" y="4"/>
                  </a:lnTo>
                  <a:lnTo>
                    <a:pt x="72" y="8"/>
                  </a:lnTo>
                  <a:lnTo>
                    <a:pt x="62" y="4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4"/>
                  </a:lnTo>
                  <a:lnTo>
                    <a:pt x="14" y="12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2" y="42"/>
                  </a:lnTo>
                  <a:lnTo>
                    <a:pt x="12" y="70"/>
                  </a:lnTo>
                  <a:lnTo>
                    <a:pt x="20" y="78"/>
                  </a:lnTo>
                  <a:lnTo>
                    <a:pt x="40" y="84"/>
                  </a:lnTo>
                  <a:lnTo>
                    <a:pt x="48" y="86"/>
                  </a:lnTo>
                  <a:lnTo>
                    <a:pt x="50" y="96"/>
                  </a:lnTo>
                  <a:lnTo>
                    <a:pt x="50" y="112"/>
                  </a:lnTo>
                  <a:lnTo>
                    <a:pt x="68" y="130"/>
                  </a:lnTo>
                  <a:lnTo>
                    <a:pt x="76" y="134"/>
                  </a:lnTo>
                  <a:lnTo>
                    <a:pt x="80" y="136"/>
                  </a:lnTo>
                  <a:lnTo>
                    <a:pt x="86" y="138"/>
                  </a:lnTo>
                  <a:lnTo>
                    <a:pt x="102" y="158"/>
                  </a:lnTo>
                  <a:lnTo>
                    <a:pt x="108" y="154"/>
                  </a:lnTo>
                  <a:lnTo>
                    <a:pt x="118" y="154"/>
                  </a:lnTo>
                  <a:lnTo>
                    <a:pt x="132" y="162"/>
                  </a:lnTo>
                  <a:lnTo>
                    <a:pt x="140" y="156"/>
                  </a:lnTo>
                  <a:lnTo>
                    <a:pt x="154" y="142"/>
                  </a:lnTo>
                  <a:lnTo>
                    <a:pt x="164" y="136"/>
                  </a:lnTo>
                  <a:lnTo>
                    <a:pt x="174" y="140"/>
                  </a:lnTo>
                  <a:lnTo>
                    <a:pt x="180" y="138"/>
                  </a:lnTo>
                  <a:lnTo>
                    <a:pt x="180" y="132"/>
                  </a:lnTo>
                  <a:lnTo>
                    <a:pt x="182" y="102"/>
                  </a:lnTo>
                  <a:lnTo>
                    <a:pt x="188" y="92"/>
                  </a:lnTo>
                  <a:lnTo>
                    <a:pt x="188" y="78"/>
                  </a:lnTo>
                  <a:lnTo>
                    <a:pt x="190" y="74"/>
                  </a:lnTo>
                  <a:lnTo>
                    <a:pt x="200" y="66"/>
                  </a:lnTo>
                  <a:lnTo>
                    <a:pt x="212" y="64"/>
                  </a:lnTo>
                  <a:lnTo>
                    <a:pt x="212" y="48"/>
                  </a:lnTo>
                  <a:lnTo>
                    <a:pt x="210" y="3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71" name="Freeform 65"/>
            <p:cNvSpPr>
              <a:spLocks/>
            </p:cNvSpPr>
            <p:nvPr/>
          </p:nvSpPr>
          <p:spPr bwMode="auto">
            <a:xfrm>
              <a:off x="2167497" y="2146654"/>
              <a:ext cx="145895" cy="117711"/>
            </a:xfrm>
            <a:custGeom>
              <a:avLst/>
              <a:gdLst>
                <a:gd name="T0" fmla="*/ 2 w 212"/>
                <a:gd name="T1" fmla="*/ 16 h 162"/>
                <a:gd name="T2" fmla="*/ 0 w 212"/>
                <a:gd name="T3" fmla="*/ 22 h 162"/>
                <a:gd name="T4" fmla="*/ 2 w 212"/>
                <a:gd name="T5" fmla="*/ 42 h 162"/>
                <a:gd name="T6" fmla="*/ 12 w 212"/>
                <a:gd name="T7" fmla="*/ 70 h 162"/>
                <a:gd name="T8" fmla="*/ 20 w 212"/>
                <a:gd name="T9" fmla="*/ 78 h 162"/>
                <a:gd name="T10" fmla="*/ 40 w 212"/>
                <a:gd name="T11" fmla="*/ 84 h 162"/>
                <a:gd name="T12" fmla="*/ 48 w 212"/>
                <a:gd name="T13" fmla="*/ 86 h 162"/>
                <a:gd name="T14" fmla="*/ 50 w 212"/>
                <a:gd name="T15" fmla="*/ 96 h 162"/>
                <a:gd name="T16" fmla="*/ 50 w 212"/>
                <a:gd name="T17" fmla="*/ 112 h 162"/>
                <a:gd name="T18" fmla="*/ 68 w 212"/>
                <a:gd name="T19" fmla="*/ 130 h 162"/>
                <a:gd name="T20" fmla="*/ 80 w 212"/>
                <a:gd name="T21" fmla="*/ 136 h 162"/>
                <a:gd name="T22" fmla="*/ 86 w 212"/>
                <a:gd name="T23" fmla="*/ 138 h 162"/>
                <a:gd name="T24" fmla="*/ 102 w 212"/>
                <a:gd name="T25" fmla="*/ 158 h 162"/>
                <a:gd name="T26" fmla="*/ 108 w 212"/>
                <a:gd name="T27" fmla="*/ 154 h 162"/>
                <a:gd name="T28" fmla="*/ 118 w 212"/>
                <a:gd name="T29" fmla="*/ 154 h 162"/>
                <a:gd name="T30" fmla="*/ 132 w 212"/>
                <a:gd name="T31" fmla="*/ 162 h 162"/>
                <a:gd name="T32" fmla="*/ 140 w 212"/>
                <a:gd name="T33" fmla="*/ 156 h 162"/>
                <a:gd name="T34" fmla="*/ 154 w 212"/>
                <a:gd name="T35" fmla="*/ 142 h 162"/>
                <a:gd name="T36" fmla="*/ 164 w 212"/>
                <a:gd name="T37" fmla="*/ 136 h 162"/>
                <a:gd name="T38" fmla="*/ 174 w 212"/>
                <a:gd name="T39" fmla="*/ 140 h 162"/>
                <a:gd name="T40" fmla="*/ 180 w 212"/>
                <a:gd name="T41" fmla="*/ 138 h 162"/>
                <a:gd name="T42" fmla="*/ 180 w 212"/>
                <a:gd name="T43" fmla="*/ 132 h 162"/>
                <a:gd name="T44" fmla="*/ 182 w 212"/>
                <a:gd name="T45" fmla="*/ 102 h 162"/>
                <a:gd name="T46" fmla="*/ 188 w 212"/>
                <a:gd name="T47" fmla="*/ 92 h 162"/>
                <a:gd name="T48" fmla="*/ 188 w 212"/>
                <a:gd name="T49" fmla="*/ 78 h 162"/>
                <a:gd name="T50" fmla="*/ 190 w 212"/>
                <a:gd name="T51" fmla="*/ 74 h 162"/>
                <a:gd name="T52" fmla="*/ 200 w 212"/>
                <a:gd name="T53" fmla="*/ 66 h 162"/>
                <a:gd name="T54" fmla="*/ 212 w 212"/>
                <a:gd name="T55" fmla="*/ 64 h 162"/>
                <a:gd name="T56" fmla="*/ 212 w 212"/>
                <a:gd name="T57" fmla="*/ 48 h 162"/>
                <a:gd name="T58" fmla="*/ 210 w 212"/>
                <a:gd name="T59" fmla="*/ 38 h 162"/>
                <a:gd name="T60" fmla="*/ 200 w 212"/>
                <a:gd name="T61" fmla="*/ 34 h 162"/>
                <a:gd name="T62" fmla="*/ 198 w 212"/>
                <a:gd name="T63" fmla="*/ 34 h 162"/>
                <a:gd name="T64" fmla="*/ 184 w 212"/>
                <a:gd name="T65" fmla="*/ 22 h 162"/>
                <a:gd name="T66" fmla="*/ 176 w 212"/>
                <a:gd name="T67" fmla="*/ 12 h 162"/>
                <a:gd name="T68" fmla="*/ 164 w 212"/>
                <a:gd name="T69" fmla="*/ 12 h 162"/>
                <a:gd name="T70" fmla="*/ 146 w 212"/>
                <a:gd name="T71" fmla="*/ 12 h 162"/>
                <a:gd name="T72" fmla="*/ 142 w 212"/>
                <a:gd name="T73" fmla="*/ 10 h 162"/>
                <a:gd name="T74" fmla="*/ 138 w 212"/>
                <a:gd name="T75" fmla="*/ 0 h 162"/>
                <a:gd name="T76" fmla="*/ 132 w 212"/>
                <a:gd name="T77" fmla="*/ 0 h 162"/>
                <a:gd name="T78" fmla="*/ 116 w 212"/>
                <a:gd name="T79" fmla="*/ 0 h 162"/>
                <a:gd name="T80" fmla="*/ 108 w 212"/>
                <a:gd name="T81" fmla="*/ 8 h 162"/>
                <a:gd name="T82" fmla="*/ 102 w 212"/>
                <a:gd name="T83" fmla="*/ 6 h 162"/>
                <a:gd name="T84" fmla="*/ 92 w 212"/>
                <a:gd name="T85" fmla="*/ 4 h 162"/>
                <a:gd name="T86" fmla="*/ 86 w 212"/>
                <a:gd name="T87" fmla="*/ 2 h 162"/>
                <a:gd name="T88" fmla="*/ 78 w 212"/>
                <a:gd name="T89" fmla="*/ 4 h 162"/>
                <a:gd name="T90" fmla="*/ 72 w 212"/>
                <a:gd name="T91" fmla="*/ 8 h 162"/>
                <a:gd name="T92" fmla="*/ 62 w 212"/>
                <a:gd name="T93" fmla="*/ 4 h 162"/>
                <a:gd name="T94" fmla="*/ 38 w 212"/>
                <a:gd name="T95" fmla="*/ 0 h 162"/>
                <a:gd name="T96" fmla="*/ 32 w 212"/>
                <a:gd name="T97" fmla="*/ 0 h 162"/>
                <a:gd name="T98" fmla="*/ 26 w 212"/>
                <a:gd name="T99" fmla="*/ 4 h 162"/>
                <a:gd name="T100" fmla="*/ 14 w 212"/>
                <a:gd name="T101" fmla="*/ 12 h 162"/>
                <a:gd name="T102" fmla="*/ 2 w 212"/>
                <a:gd name="T103" fmla="*/ 1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2" h="162">
                  <a:moveTo>
                    <a:pt x="2" y="16"/>
                  </a:moveTo>
                  <a:lnTo>
                    <a:pt x="0" y="22"/>
                  </a:lnTo>
                  <a:lnTo>
                    <a:pt x="2" y="42"/>
                  </a:lnTo>
                  <a:lnTo>
                    <a:pt x="12" y="70"/>
                  </a:lnTo>
                  <a:lnTo>
                    <a:pt x="20" y="78"/>
                  </a:lnTo>
                  <a:lnTo>
                    <a:pt x="40" y="84"/>
                  </a:lnTo>
                  <a:lnTo>
                    <a:pt x="48" y="86"/>
                  </a:lnTo>
                  <a:lnTo>
                    <a:pt x="50" y="96"/>
                  </a:lnTo>
                  <a:lnTo>
                    <a:pt x="50" y="112"/>
                  </a:lnTo>
                  <a:lnTo>
                    <a:pt x="68" y="130"/>
                  </a:lnTo>
                  <a:lnTo>
                    <a:pt x="80" y="136"/>
                  </a:lnTo>
                  <a:lnTo>
                    <a:pt x="86" y="138"/>
                  </a:lnTo>
                  <a:lnTo>
                    <a:pt x="102" y="158"/>
                  </a:lnTo>
                  <a:lnTo>
                    <a:pt x="108" y="154"/>
                  </a:lnTo>
                  <a:lnTo>
                    <a:pt x="118" y="154"/>
                  </a:lnTo>
                  <a:lnTo>
                    <a:pt x="132" y="162"/>
                  </a:lnTo>
                  <a:lnTo>
                    <a:pt x="140" y="156"/>
                  </a:lnTo>
                  <a:lnTo>
                    <a:pt x="154" y="142"/>
                  </a:lnTo>
                  <a:lnTo>
                    <a:pt x="164" y="136"/>
                  </a:lnTo>
                  <a:lnTo>
                    <a:pt x="174" y="140"/>
                  </a:lnTo>
                  <a:lnTo>
                    <a:pt x="180" y="138"/>
                  </a:lnTo>
                  <a:lnTo>
                    <a:pt x="180" y="132"/>
                  </a:lnTo>
                  <a:lnTo>
                    <a:pt x="182" y="102"/>
                  </a:lnTo>
                  <a:lnTo>
                    <a:pt x="188" y="92"/>
                  </a:lnTo>
                  <a:lnTo>
                    <a:pt x="188" y="78"/>
                  </a:lnTo>
                  <a:lnTo>
                    <a:pt x="190" y="74"/>
                  </a:lnTo>
                  <a:lnTo>
                    <a:pt x="200" y="66"/>
                  </a:lnTo>
                  <a:lnTo>
                    <a:pt x="212" y="64"/>
                  </a:lnTo>
                  <a:lnTo>
                    <a:pt x="212" y="48"/>
                  </a:lnTo>
                  <a:lnTo>
                    <a:pt x="210" y="38"/>
                  </a:lnTo>
                  <a:lnTo>
                    <a:pt x="200" y="34"/>
                  </a:lnTo>
                  <a:lnTo>
                    <a:pt x="198" y="34"/>
                  </a:lnTo>
                  <a:lnTo>
                    <a:pt x="184" y="22"/>
                  </a:lnTo>
                  <a:lnTo>
                    <a:pt x="176" y="12"/>
                  </a:lnTo>
                  <a:lnTo>
                    <a:pt x="164" y="12"/>
                  </a:lnTo>
                  <a:lnTo>
                    <a:pt x="146" y="12"/>
                  </a:lnTo>
                  <a:lnTo>
                    <a:pt x="142" y="10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16" y="0"/>
                  </a:lnTo>
                  <a:lnTo>
                    <a:pt x="108" y="8"/>
                  </a:lnTo>
                  <a:lnTo>
                    <a:pt x="102" y="6"/>
                  </a:lnTo>
                  <a:lnTo>
                    <a:pt x="92" y="4"/>
                  </a:lnTo>
                  <a:lnTo>
                    <a:pt x="86" y="2"/>
                  </a:lnTo>
                  <a:lnTo>
                    <a:pt x="78" y="4"/>
                  </a:lnTo>
                  <a:lnTo>
                    <a:pt x="72" y="8"/>
                  </a:lnTo>
                  <a:lnTo>
                    <a:pt x="62" y="4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26" y="4"/>
                  </a:lnTo>
                  <a:lnTo>
                    <a:pt x="14" y="12"/>
                  </a:lnTo>
                  <a:lnTo>
                    <a:pt x="2" y="1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72" name="Freeform 66"/>
            <p:cNvSpPr>
              <a:spLocks/>
            </p:cNvSpPr>
            <p:nvPr/>
          </p:nvSpPr>
          <p:spPr bwMode="auto">
            <a:xfrm>
              <a:off x="2185390" y="2020224"/>
              <a:ext cx="22022" cy="18892"/>
            </a:xfrm>
            <a:custGeom>
              <a:avLst/>
              <a:gdLst>
                <a:gd name="T0" fmla="*/ 18 w 32"/>
                <a:gd name="T1" fmla="*/ 0 h 26"/>
                <a:gd name="T2" fmla="*/ 4 w 32"/>
                <a:gd name="T3" fmla="*/ 8 h 26"/>
                <a:gd name="T4" fmla="*/ 0 w 32"/>
                <a:gd name="T5" fmla="*/ 14 h 26"/>
                <a:gd name="T6" fmla="*/ 8 w 32"/>
                <a:gd name="T7" fmla="*/ 16 h 26"/>
                <a:gd name="T8" fmla="*/ 16 w 32"/>
                <a:gd name="T9" fmla="*/ 26 h 26"/>
                <a:gd name="T10" fmla="*/ 24 w 32"/>
                <a:gd name="T11" fmla="*/ 18 h 26"/>
                <a:gd name="T12" fmla="*/ 32 w 32"/>
                <a:gd name="T13" fmla="*/ 14 h 26"/>
                <a:gd name="T14" fmla="*/ 24 w 32"/>
                <a:gd name="T15" fmla="*/ 8 h 26"/>
                <a:gd name="T16" fmla="*/ 18 w 32"/>
                <a:gd name="T1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6">
                  <a:moveTo>
                    <a:pt x="18" y="0"/>
                  </a:moveTo>
                  <a:lnTo>
                    <a:pt x="4" y="8"/>
                  </a:lnTo>
                  <a:lnTo>
                    <a:pt x="0" y="14"/>
                  </a:lnTo>
                  <a:lnTo>
                    <a:pt x="8" y="16"/>
                  </a:lnTo>
                  <a:lnTo>
                    <a:pt x="16" y="26"/>
                  </a:lnTo>
                  <a:lnTo>
                    <a:pt x="24" y="18"/>
                  </a:lnTo>
                  <a:lnTo>
                    <a:pt x="32" y="14"/>
                  </a:lnTo>
                  <a:lnTo>
                    <a:pt x="24" y="8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73" name="Freeform 67"/>
            <p:cNvSpPr>
              <a:spLocks/>
            </p:cNvSpPr>
            <p:nvPr/>
          </p:nvSpPr>
          <p:spPr bwMode="auto">
            <a:xfrm>
              <a:off x="2185390" y="2020224"/>
              <a:ext cx="22022" cy="18892"/>
            </a:xfrm>
            <a:custGeom>
              <a:avLst/>
              <a:gdLst>
                <a:gd name="T0" fmla="*/ 18 w 32"/>
                <a:gd name="T1" fmla="*/ 0 h 26"/>
                <a:gd name="T2" fmla="*/ 4 w 32"/>
                <a:gd name="T3" fmla="*/ 8 h 26"/>
                <a:gd name="T4" fmla="*/ 0 w 32"/>
                <a:gd name="T5" fmla="*/ 14 h 26"/>
                <a:gd name="T6" fmla="*/ 8 w 32"/>
                <a:gd name="T7" fmla="*/ 16 h 26"/>
                <a:gd name="T8" fmla="*/ 16 w 32"/>
                <a:gd name="T9" fmla="*/ 26 h 26"/>
                <a:gd name="T10" fmla="*/ 24 w 32"/>
                <a:gd name="T11" fmla="*/ 18 h 26"/>
                <a:gd name="T12" fmla="*/ 32 w 32"/>
                <a:gd name="T13" fmla="*/ 14 h 26"/>
                <a:gd name="T14" fmla="*/ 24 w 32"/>
                <a:gd name="T15" fmla="*/ 8 h 26"/>
                <a:gd name="T16" fmla="*/ 18 w 32"/>
                <a:gd name="T1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6">
                  <a:moveTo>
                    <a:pt x="18" y="0"/>
                  </a:moveTo>
                  <a:lnTo>
                    <a:pt x="4" y="8"/>
                  </a:lnTo>
                  <a:lnTo>
                    <a:pt x="0" y="14"/>
                  </a:lnTo>
                  <a:lnTo>
                    <a:pt x="8" y="16"/>
                  </a:lnTo>
                  <a:lnTo>
                    <a:pt x="16" y="26"/>
                  </a:lnTo>
                  <a:lnTo>
                    <a:pt x="24" y="18"/>
                  </a:lnTo>
                  <a:lnTo>
                    <a:pt x="32" y="14"/>
                  </a:lnTo>
                  <a:lnTo>
                    <a:pt x="24" y="8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74" name="Freeform 68"/>
            <p:cNvSpPr>
              <a:spLocks/>
            </p:cNvSpPr>
            <p:nvPr/>
          </p:nvSpPr>
          <p:spPr bwMode="auto">
            <a:xfrm>
              <a:off x="2178508" y="2042022"/>
              <a:ext cx="33033" cy="34877"/>
            </a:xfrm>
            <a:custGeom>
              <a:avLst/>
              <a:gdLst>
                <a:gd name="T0" fmla="*/ 38 w 48"/>
                <a:gd name="T1" fmla="*/ 0 h 48"/>
                <a:gd name="T2" fmla="*/ 22 w 48"/>
                <a:gd name="T3" fmla="*/ 4 h 48"/>
                <a:gd name="T4" fmla="*/ 16 w 48"/>
                <a:gd name="T5" fmla="*/ 0 h 48"/>
                <a:gd name="T6" fmla="*/ 8 w 48"/>
                <a:gd name="T7" fmla="*/ 12 h 48"/>
                <a:gd name="T8" fmla="*/ 4 w 48"/>
                <a:gd name="T9" fmla="*/ 10 h 48"/>
                <a:gd name="T10" fmla="*/ 0 w 48"/>
                <a:gd name="T11" fmla="*/ 18 h 48"/>
                <a:gd name="T12" fmla="*/ 4 w 48"/>
                <a:gd name="T13" fmla="*/ 22 h 48"/>
                <a:gd name="T14" fmla="*/ 4 w 48"/>
                <a:gd name="T15" fmla="*/ 42 h 48"/>
                <a:gd name="T16" fmla="*/ 8 w 48"/>
                <a:gd name="T17" fmla="*/ 48 h 48"/>
                <a:gd name="T18" fmla="*/ 32 w 48"/>
                <a:gd name="T19" fmla="*/ 22 h 48"/>
                <a:gd name="T20" fmla="*/ 42 w 48"/>
                <a:gd name="T21" fmla="*/ 22 h 48"/>
                <a:gd name="T22" fmla="*/ 48 w 48"/>
                <a:gd name="T23" fmla="*/ 14 h 48"/>
                <a:gd name="T24" fmla="*/ 46 w 48"/>
                <a:gd name="T25" fmla="*/ 12 h 48"/>
                <a:gd name="T26" fmla="*/ 38 w 48"/>
                <a:gd name="T2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38" y="0"/>
                  </a:moveTo>
                  <a:lnTo>
                    <a:pt x="22" y="4"/>
                  </a:lnTo>
                  <a:lnTo>
                    <a:pt x="16" y="0"/>
                  </a:lnTo>
                  <a:lnTo>
                    <a:pt x="8" y="12"/>
                  </a:lnTo>
                  <a:lnTo>
                    <a:pt x="4" y="10"/>
                  </a:lnTo>
                  <a:lnTo>
                    <a:pt x="0" y="18"/>
                  </a:lnTo>
                  <a:lnTo>
                    <a:pt x="4" y="22"/>
                  </a:lnTo>
                  <a:lnTo>
                    <a:pt x="4" y="42"/>
                  </a:lnTo>
                  <a:lnTo>
                    <a:pt x="8" y="48"/>
                  </a:lnTo>
                  <a:lnTo>
                    <a:pt x="32" y="22"/>
                  </a:lnTo>
                  <a:lnTo>
                    <a:pt x="42" y="22"/>
                  </a:lnTo>
                  <a:lnTo>
                    <a:pt x="48" y="14"/>
                  </a:lnTo>
                  <a:lnTo>
                    <a:pt x="46" y="12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75" name="Freeform 69"/>
            <p:cNvSpPr>
              <a:spLocks/>
            </p:cNvSpPr>
            <p:nvPr/>
          </p:nvSpPr>
          <p:spPr bwMode="auto">
            <a:xfrm>
              <a:off x="2178508" y="2042022"/>
              <a:ext cx="33033" cy="34877"/>
            </a:xfrm>
            <a:custGeom>
              <a:avLst/>
              <a:gdLst>
                <a:gd name="T0" fmla="*/ 38 w 48"/>
                <a:gd name="T1" fmla="*/ 0 h 48"/>
                <a:gd name="T2" fmla="*/ 22 w 48"/>
                <a:gd name="T3" fmla="*/ 4 h 48"/>
                <a:gd name="T4" fmla="*/ 16 w 48"/>
                <a:gd name="T5" fmla="*/ 0 h 48"/>
                <a:gd name="T6" fmla="*/ 8 w 48"/>
                <a:gd name="T7" fmla="*/ 12 h 48"/>
                <a:gd name="T8" fmla="*/ 4 w 48"/>
                <a:gd name="T9" fmla="*/ 10 h 48"/>
                <a:gd name="T10" fmla="*/ 0 w 48"/>
                <a:gd name="T11" fmla="*/ 18 h 48"/>
                <a:gd name="T12" fmla="*/ 4 w 48"/>
                <a:gd name="T13" fmla="*/ 22 h 48"/>
                <a:gd name="T14" fmla="*/ 4 w 48"/>
                <a:gd name="T15" fmla="*/ 42 h 48"/>
                <a:gd name="T16" fmla="*/ 8 w 48"/>
                <a:gd name="T17" fmla="*/ 48 h 48"/>
                <a:gd name="T18" fmla="*/ 32 w 48"/>
                <a:gd name="T19" fmla="*/ 22 h 48"/>
                <a:gd name="T20" fmla="*/ 42 w 48"/>
                <a:gd name="T21" fmla="*/ 22 h 48"/>
                <a:gd name="T22" fmla="*/ 48 w 48"/>
                <a:gd name="T23" fmla="*/ 14 h 48"/>
                <a:gd name="T24" fmla="*/ 46 w 48"/>
                <a:gd name="T25" fmla="*/ 12 h 48"/>
                <a:gd name="T26" fmla="*/ 38 w 48"/>
                <a:gd name="T2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48">
                  <a:moveTo>
                    <a:pt x="38" y="0"/>
                  </a:moveTo>
                  <a:lnTo>
                    <a:pt x="22" y="4"/>
                  </a:lnTo>
                  <a:lnTo>
                    <a:pt x="16" y="0"/>
                  </a:lnTo>
                  <a:lnTo>
                    <a:pt x="8" y="12"/>
                  </a:lnTo>
                  <a:lnTo>
                    <a:pt x="4" y="10"/>
                  </a:lnTo>
                  <a:lnTo>
                    <a:pt x="0" y="18"/>
                  </a:lnTo>
                  <a:lnTo>
                    <a:pt x="4" y="22"/>
                  </a:lnTo>
                  <a:lnTo>
                    <a:pt x="4" y="42"/>
                  </a:lnTo>
                  <a:lnTo>
                    <a:pt x="8" y="48"/>
                  </a:lnTo>
                  <a:lnTo>
                    <a:pt x="32" y="22"/>
                  </a:lnTo>
                  <a:lnTo>
                    <a:pt x="42" y="22"/>
                  </a:lnTo>
                  <a:lnTo>
                    <a:pt x="48" y="14"/>
                  </a:lnTo>
                  <a:lnTo>
                    <a:pt x="46" y="12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76" name="Freeform 70"/>
            <p:cNvSpPr>
              <a:spLocks/>
            </p:cNvSpPr>
            <p:nvPr/>
          </p:nvSpPr>
          <p:spPr bwMode="auto">
            <a:xfrm>
              <a:off x="2217046" y="1986799"/>
              <a:ext cx="108733" cy="100272"/>
            </a:xfrm>
            <a:custGeom>
              <a:avLst/>
              <a:gdLst>
                <a:gd name="T0" fmla="*/ 152 w 158"/>
                <a:gd name="T1" fmla="*/ 130 h 138"/>
                <a:gd name="T2" fmla="*/ 150 w 158"/>
                <a:gd name="T3" fmla="*/ 122 h 138"/>
                <a:gd name="T4" fmla="*/ 156 w 158"/>
                <a:gd name="T5" fmla="*/ 114 h 138"/>
                <a:gd name="T6" fmla="*/ 156 w 158"/>
                <a:gd name="T7" fmla="*/ 104 h 138"/>
                <a:gd name="T8" fmla="*/ 144 w 158"/>
                <a:gd name="T9" fmla="*/ 96 h 138"/>
                <a:gd name="T10" fmla="*/ 140 w 158"/>
                <a:gd name="T11" fmla="*/ 92 h 138"/>
                <a:gd name="T12" fmla="*/ 138 w 158"/>
                <a:gd name="T13" fmla="*/ 78 h 138"/>
                <a:gd name="T14" fmla="*/ 132 w 158"/>
                <a:gd name="T15" fmla="*/ 66 h 138"/>
                <a:gd name="T16" fmla="*/ 124 w 158"/>
                <a:gd name="T17" fmla="*/ 58 h 138"/>
                <a:gd name="T18" fmla="*/ 124 w 158"/>
                <a:gd name="T19" fmla="*/ 50 h 138"/>
                <a:gd name="T20" fmla="*/ 128 w 158"/>
                <a:gd name="T21" fmla="*/ 44 h 138"/>
                <a:gd name="T22" fmla="*/ 146 w 158"/>
                <a:gd name="T23" fmla="*/ 44 h 138"/>
                <a:gd name="T24" fmla="*/ 152 w 158"/>
                <a:gd name="T25" fmla="*/ 36 h 138"/>
                <a:gd name="T26" fmla="*/ 158 w 158"/>
                <a:gd name="T27" fmla="*/ 16 h 138"/>
                <a:gd name="T28" fmla="*/ 156 w 158"/>
                <a:gd name="T29" fmla="*/ 10 h 138"/>
                <a:gd name="T30" fmla="*/ 148 w 158"/>
                <a:gd name="T31" fmla="*/ 8 h 138"/>
                <a:gd name="T32" fmla="*/ 132 w 158"/>
                <a:gd name="T33" fmla="*/ 10 h 138"/>
                <a:gd name="T34" fmla="*/ 112 w 158"/>
                <a:gd name="T35" fmla="*/ 10 h 138"/>
                <a:gd name="T36" fmla="*/ 96 w 158"/>
                <a:gd name="T37" fmla="*/ 4 h 138"/>
                <a:gd name="T38" fmla="*/ 84 w 158"/>
                <a:gd name="T39" fmla="*/ 0 h 138"/>
                <a:gd name="T40" fmla="*/ 76 w 158"/>
                <a:gd name="T41" fmla="*/ 0 h 138"/>
                <a:gd name="T42" fmla="*/ 66 w 158"/>
                <a:gd name="T43" fmla="*/ 12 h 138"/>
                <a:gd name="T44" fmla="*/ 54 w 158"/>
                <a:gd name="T45" fmla="*/ 20 h 138"/>
                <a:gd name="T46" fmla="*/ 38 w 158"/>
                <a:gd name="T47" fmla="*/ 18 h 138"/>
                <a:gd name="T48" fmla="*/ 30 w 158"/>
                <a:gd name="T49" fmla="*/ 24 h 138"/>
                <a:gd name="T50" fmla="*/ 14 w 158"/>
                <a:gd name="T51" fmla="*/ 40 h 138"/>
                <a:gd name="T52" fmla="*/ 2 w 158"/>
                <a:gd name="T53" fmla="*/ 50 h 138"/>
                <a:gd name="T54" fmla="*/ 0 w 158"/>
                <a:gd name="T55" fmla="*/ 56 h 138"/>
                <a:gd name="T56" fmla="*/ 6 w 158"/>
                <a:gd name="T57" fmla="*/ 68 h 138"/>
                <a:gd name="T58" fmla="*/ 12 w 158"/>
                <a:gd name="T59" fmla="*/ 84 h 138"/>
                <a:gd name="T60" fmla="*/ 22 w 158"/>
                <a:gd name="T61" fmla="*/ 94 h 138"/>
                <a:gd name="T62" fmla="*/ 30 w 158"/>
                <a:gd name="T63" fmla="*/ 90 h 138"/>
                <a:gd name="T64" fmla="*/ 44 w 158"/>
                <a:gd name="T65" fmla="*/ 86 h 138"/>
                <a:gd name="T66" fmla="*/ 42 w 158"/>
                <a:gd name="T67" fmla="*/ 98 h 138"/>
                <a:gd name="T68" fmla="*/ 38 w 158"/>
                <a:gd name="T69" fmla="*/ 114 h 138"/>
                <a:gd name="T70" fmla="*/ 38 w 158"/>
                <a:gd name="T71" fmla="*/ 118 h 138"/>
                <a:gd name="T72" fmla="*/ 46 w 158"/>
                <a:gd name="T73" fmla="*/ 118 h 138"/>
                <a:gd name="T74" fmla="*/ 54 w 158"/>
                <a:gd name="T75" fmla="*/ 114 h 138"/>
                <a:gd name="T76" fmla="*/ 76 w 158"/>
                <a:gd name="T77" fmla="*/ 116 h 138"/>
                <a:gd name="T78" fmla="*/ 82 w 158"/>
                <a:gd name="T79" fmla="*/ 124 h 138"/>
                <a:gd name="T80" fmla="*/ 94 w 158"/>
                <a:gd name="T81" fmla="*/ 128 h 138"/>
                <a:gd name="T82" fmla="*/ 104 w 158"/>
                <a:gd name="T83" fmla="*/ 138 h 138"/>
                <a:gd name="T84" fmla="*/ 110 w 158"/>
                <a:gd name="T85" fmla="*/ 136 h 138"/>
                <a:gd name="T86" fmla="*/ 122 w 158"/>
                <a:gd name="T87" fmla="*/ 130 h 138"/>
                <a:gd name="T88" fmla="*/ 134 w 158"/>
                <a:gd name="T89" fmla="*/ 128 h 138"/>
                <a:gd name="T90" fmla="*/ 152 w 158"/>
                <a:gd name="T91" fmla="*/ 13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8" h="138">
                  <a:moveTo>
                    <a:pt x="152" y="130"/>
                  </a:moveTo>
                  <a:lnTo>
                    <a:pt x="150" y="122"/>
                  </a:lnTo>
                  <a:lnTo>
                    <a:pt x="156" y="114"/>
                  </a:lnTo>
                  <a:lnTo>
                    <a:pt x="156" y="104"/>
                  </a:lnTo>
                  <a:lnTo>
                    <a:pt x="144" y="96"/>
                  </a:lnTo>
                  <a:lnTo>
                    <a:pt x="140" y="92"/>
                  </a:lnTo>
                  <a:lnTo>
                    <a:pt x="138" y="78"/>
                  </a:lnTo>
                  <a:lnTo>
                    <a:pt x="132" y="66"/>
                  </a:lnTo>
                  <a:lnTo>
                    <a:pt x="124" y="58"/>
                  </a:lnTo>
                  <a:lnTo>
                    <a:pt x="124" y="50"/>
                  </a:lnTo>
                  <a:lnTo>
                    <a:pt x="128" y="44"/>
                  </a:lnTo>
                  <a:lnTo>
                    <a:pt x="146" y="44"/>
                  </a:lnTo>
                  <a:lnTo>
                    <a:pt x="152" y="36"/>
                  </a:lnTo>
                  <a:lnTo>
                    <a:pt x="158" y="16"/>
                  </a:lnTo>
                  <a:lnTo>
                    <a:pt x="156" y="10"/>
                  </a:lnTo>
                  <a:lnTo>
                    <a:pt x="148" y="8"/>
                  </a:lnTo>
                  <a:lnTo>
                    <a:pt x="132" y="10"/>
                  </a:lnTo>
                  <a:lnTo>
                    <a:pt x="112" y="10"/>
                  </a:lnTo>
                  <a:lnTo>
                    <a:pt x="96" y="4"/>
                  </a:lnTo>
                  <a:lnTo>
                    <a:pt x="84" y="0"/>
                  </a:lnTo>
                  <a:lnTo>
                    <a:pt x="76" y="0"/>
                  </a:lnTo>
                  <a:lnTo>
                    <a:pt x="66" y="12"/>
                  </a:lnTo>
                  <a:lnTo>
                    <a:pt x="54" y="20"/>
                  </a:lnTo>
                  <a:lnTo>
                    <a:pt x="38" y="18"/>
                  </a:lnTo>
                  <a:lnTo>
                    <a:pt x="30" y="24"/>
                  </a:lnTo>
                  <a:lnTo>
                    <a:pt x="14" y="40"/>
                  </a:lnTo>
                  <a:lnTo>
                    <a:pt x="2" y="50"/>
                  </a:lnTo>
                  <a:lnTo>
                    <a:pt x="0" y="56"/>
                  </a:lnTo>
                  <a:lnTo>
                    <a:pt x="6" y="68"/>
                  </a:lnTo>
                  <a:lnTo>
                    <a:pt x="12" y="84"/>
                  </a:lnTo>
                  <a:lnTo>
                    <a:pt x="22" y="94"/>
                  </a:lnTo>
                  <a:lnTo>
                    <a:pt x="30" y="90"/>
                  </a:lnTo>
                  <a:lnTo>
                    <a:pt x="44" y="86"/>
                  </a:lnTo>
                  <a:lnTo>
                    <a:pt x="42" y="98"/>
                  </a:lnTo>
                  <a:lnTo>
                    <a:pt x="38" y="114"/>
                  </a:lnTo>
                  <a:lnTo>
                    <a:pt x="38" y="118"/>
                  </a:lnTo>
                  <a:lnTo>
                    <a:pt x="46" y="118"/>
                  </a:lnTo>
                  <a:lnTo>
                    <a:pt x="54" y="114"/>
                  </a:lnTo>
                  <a:lnTo>
                    <a:pt x="76" y="116"/>
                  </a:lnTo>
                  <a:lnTo>
                    <a:pt x="82" y="124"/>
                  </a:lnTo>
                  <a:lnTo>
                    <a:pt x="94" y="128"/>
                  </a:lnTo>
                  <a:lnTo>
                    <a:pt x="104" y="138"/>
                  </a:lnTo>
                  <a:lnTo>
                    <a:pt x="110" y="136"/>
                  </a:lnTo>
                  <a:lnTo>
                    <a:pt x="122" y="130"/>
                  </a:lnTo>
                  <a:lnTo>
                    <a:pt x="134" y="128"/>
                  </a:lnTo>
                  <a:lnTo>
                    <a:pt x="152" y="13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77" name="Freeform 71"/>
            <p:cNvSpPr>
              <a:spLocks/>
            </p:cNvSpPr>
            <p:nvPr/>
          </p:nvSpPr>
          <p:spPr bwMode="auto">
            <a:xfrm>
              <a:off x="2217046" y="1986799"/>
              <a:ext cx="108733" cy="100272"/>
            </a:xfrm>
            <a:custGeom>
              <a:avLst/>
              <a:gdLst>
                <a:gd name="T0" fmla="*/ 152 w 158"/>
                <a:gd name="T1" fmla="*/ 130 h 138"/>
                <a:gd name="T2" fmla="*/ 150 w 158"/>
                <a:gd name="T3" fmla="*/ 122 h 138"/>
                <a:gd name="T4" fmla="*/ 156 w 158"/>
                <a:gd name="T5" fmla="*/ 114 h 138"/>
                <a:gd name="T6" fmla="*/ 156 w 158"/>
                <a:gd name="T7" fmla="*/ 104 h 138"/>
                <a:gd name="T8" fmla="*/ 144 w 158"/>
                <a:gd name="T9" fmla="*/ 96 h 138"/>
                <a:gd name="T10" fmla="*/ 140 w 158"/>
                <a:gd name="T11" fmla="*/ 92 h 138"/>
                <a:gd name="T12" fmla="*/ 138 w 158"/>
                <a:gd name="T13" fmla="*/ 78 h 138"/>
                <a:gd name="T14" fmla="*/ 132 w 158"/>
                <a:gd name="T15" fmla="*/ 66 h 138"/>
                <a:gd name="T16" fmla="*/ 124 w 158"/>
                <a:gd name="T17" fmla="*/ 58 h 138"/>
                <a:gd name="T18" fmla="*/ 124 w 158"/>
                <a:gd name="T19" fmla="*/ 50 h 138"/>
                <a:gd name="T20" fmla="*/ 128 w 158"/>
                <a:gd name="T21" fmla="*/ 44 h 138"/>
                <a:gd name="T22" fmla="*/ 146 w 158"/>
                <a:gd name="T23" fmla="*/ 44 h 138"/>
                <a:gd name="T24" fmla="*/ 152 w 158"/>
                <a:gd name="T25" fmla="*/ 36 h 138"/>
                <a:gd name="T26" fmla="*/ 158 w 158"/>
                <a:gd name="T27" fmla="*/ 16 h 138"/>
                <a:gd name="T28" fmla="*/ 156 w 158"/>
                <a:gd name="T29" fmla="*/ 10 h 138"/>
                <a:gd name="T30" fmla="*/ 148 w 158"/>
                <a:gd name="T31" fmla="*/ 8 h 138"/>
                <a:gd name="T32" fmla="*/ 132 w 158"/>
                <a:gd name="T33" fmla="*/ 10 h 138"/>
                <a:gd name="T34" fmla="*/ 112 w 158"/>
                <a:gd name="T35" fmla="*/ 10 h 138"/>
                <a:gd name="T36" fmla="*/ 96 w 158"/>
                <a:gd name="T37" fmla="*/ 4 h 138"/>
                <a:gd name="T38" fmla="*/ 84 w 158"/>
                <a:gd name="T39" fmla="*/ 0 h 138"/>
                <a:gd name="T40" fmla="*/ 76 w 158"/>
                <a:gd name="T41" fmla="*/ 0 h 138"/>
                <a:gd name="T42" fmla="*/ 66 w 158"/>
                <a:gd name="T43" fmla="*/ 12 h 138"/>
                <a:gd name="T44" fmla="*/ 54 w 158"/>
                <a:gd name="T45" fmla="*/ 20 h 138"/>
                <a:gd name="T46" fmla="*/ 38 w 158"/>
                <a:gd name="T47" fmla="*/ 18 h 138"/>
                <a:gd name="T48" fmla="*/ 30 w 158"/>
                <a:gd name="T49" fmla="*/ 24 h 138"/>
                <a:gd name="T50" fmla="*/ 14 w 158"/>
                <a:gd name="T51" fmla="*/ 40 h 138"/>
                <a:gd name="T52" fmla="*/ 2 w 158"/>
                <a:gd name="T53" fmla="*/ 50 h 138"/>
                <a:gd name="T54" fmla="*/ 0 w 158"/>
                <a:gd name="T55" fmla="*/ 56 h 138"/>
                <a:gd name="T56" fmla="*/ 6 w 158"/>
                <a:gd name="T57" fmla="*/ 68 h 138"/>
                <a:gd name="T58" fmla="*/ 12 w 158"/>
                <a:gd name="T59" fmla="*/ 84 h 138"/>
                <a:gd name="T60" fmla="*/ 22 w 158"/>
                <a:gd name="T61" fmla="*/ 94 h 138"/>
                <a:gd name="T62" fmla="*/ 30 w 158"/>
                <a:gd name="T63" fmla="*/ 90 h 138"/>
                <a:gd name="T64" fmla="*/ 44 w 158"/>
                <a:gd name="T65" fmla="*/ 86 h 138"/>
                <a:gd name="T66" fmla="*/ 42 w 158"/>
                <a:gd name="T67" fmla="*/ 98 h 138"/>
                <a:gd name="T68" fmla="*/ 38 w 158"/>
                <a:gd name="T69" fmla="*/ 114 h 138"/>
                <a:gd name="T70" fmla="*/ 38 w 158"/>
                <a:gd name="T71" fmla="*/ 118 h 138"/>
                <a:gd name="T72" fmla="*/ 46 w 158"/>
                <a:gd name="T73" fmla="*/ 118 h 138"/>
                <a:gd name="T74" fmla="*/ 54 w 158"/>
                <a:gd name="T75" fmla="*/ 114 h 138"/>
                <a:gd name="T76" fmla="*/ 76 w 158"/>
                <a:gd name="T77" fmla="*/ 116 h 138"/>
                <a:gd name="T78" fmla="*/ 82 w 158"/>
                <a:gd name="T79" fmla="*/ 124 h 138"/>
                <a:gd name="T80" fmla="*/ 94 w 158"/>
                <a:gd name="T81" fmla="*/ 128 h 138"/>
                <a:gd name="T82" fmla="*/ 104 w 158"/>
                <a:gd name="T83" fmla="*/ 138 h 138"/>
                <a:gd name="T84" fmla="*/ 110 w 158"/>
                <a:gd name="T85" fmla="*/ 136 h 138"/>
                <a:gd name="T86" fmla="*/ 122 w 158"/>
                <a:gd name="T87" fmla="*/ 130 h 138"/>
                <a:gd name="T88" fmla="*/ 134 w 158"/>
                <a:gd name="T89" fmla="*/ 128 h 138"/>
                <a:gd name="T90" fmla="*/ 152 w 158"/>
                <a:gd name="T91" fmla="*/ 13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8" h="138">
                  <a:moveTo>
                    <a:pt x="152" y="130"/>
                  </a:moveTo>
                  <a:lnTo>
                    <a:pt x="150" y="122"/>
                  </a:lnTo>
                  <a:lnTo>
                    <a:pt x="156" y="114"/>
                  </a:lnTo>
                  <a:lnTo>
                    <a:pt x="156" y="104"/>
                  </a:lnTo>
                  <a:lnTo>
                    <a:pt x="144" y="96"/>
                  </a:lnTo>
                  <a:lnTo>
                    <a:pt x="140" y="92"/>
                  </a:lnTo>
                  <a:lnTo>
                    <a:pt x="138" y="78"/>
                  </a:lnTo>
                  <a:lnTo>
                    <a:pt x="132" y="66"/>
                  </a:lnTo>
                  <a:lnTo>
                    <a:pt x="124" y="58"/>
                  </a:lnTo>
                  <a:lnTo>
                    <a:pt x="124" y="50"/>
                  </a:lnTo>
                  <a:lnTo>
                    <a:pt x="128" y="44"/>
                  </a:lnTo>
                  <a:lnTo>
                    <a:pt x="146" y="44"/>
                  </a:lnTo>
                  <a:lnTo>
                    <a:pt x="152" y="36"/>
                  </a:lnTo>
                  <a:lnTo>
                    <a:pt x="158" y="16"/>
                  </a:lnTo>
                  <a:lnTo>
                    <a:pt x="156" y="10"/>
                  </a:lnTo>
                  <a:lnTo>
                    <a:pt x="148" y="8"/>
                  </a:lnTo>
                  <a:lnTo>
                    <a:pt x="132" y="10"/>
                  </a:lnTo>
                  <a:lnTo>
                    <a:pt x="112" y="10"/>
                  </a:lnTo>
                  <a:lnTo>
                    <a:pt x="96" y="4"/>
                  </a:lnTo>
                  <a:lnTo>
                    <a:pt x="84" y="0"/>
                  </a:lnTo>
                  <a:lnTo>
                    <a:pt x="76" y="0"/>
                  </a:lnTo>
                  <a:lnTo>
                    <a:pt x="66" y="12"/>
                  </a:lnTo>
                  <a:lnTo>
                    <a:pt x="54" y="20"/>
                  </a:lnTo>
                  <a:lnTo>
                    <a:pt x="38" y="18"/>
                  </a:lnTo>
                  <a:lnTo>
                    <a:pt x="30" y="24"/>
                  </a:lnTo>
                  <a:lnTo>
                    <a:pt x="14" y="40"/>
                  </a:lnTo>
                  <a:lnTo>
                    <a:pt x="2" y="50"/>
                  </a:lnTo>
                  <a:lnTo>
                    <a:pt x="0" y="56"/>
                  </a:lnTo>
                  <a:lnTo>
                    <a:pt x="6" y="68"/>
                  </a:lnTo>
                  <a:lnTo>
                    <a:pt x="12" y="84"/>
                  </a:lnTo>
                  <a:lnTo>
                    <a:pt x="22" y="94"/>
                  </a:lnTo>
                  <a:lnTo>
                    <a:pt x="30" y="90"/>
                  </a:lnTo>
                  <a:lnTo>
                    <a:pt x="44" y="86"/>
                  </a:lnTo>
                  <a:lnTo>
                    <a:pt x="42" y="98"/>
                  </a:lnTo>
                  <a:lnTo>
                    <a:pt x="38" y="114"/>
                  </a:lnTo>
                  <a:lnTo>
                    <a:pt x="38" y="118"/>
                  </a:lnTo>
                  <a:lnTo>
                    <a:pt x="46" y="118"/>
                  </a:lnTo>
                  <a:lnTo>
                    <a:pt x="54" y="114"/>
                  </a:lnTo>
                  <a:lnTo>
                    <a:pt x="76" y="116"/>
                  </a:lnTo>
                  <a:lnTo>
                    <a:pt x="82" y="124"/>
                  </a:lnTo>
                  <a:lnTo>
                    <a:pt x="94" y="128"/>
                  </a:lnTo>
                  <a:lnTo>
                    <a:pt x="104" y="138"/>
                  </a:lnTo>
                  <a:lnTo>
                    <a:pt x="110" y="136"/>
                  </a:lnTo>
                  <a:lnTo>
                    <a:pt x="122" y="130"/>
                  </a:lnTo>
                  <a:lnTo>
                    <a:pt x="134" y="128"/>
                  </a:lnTo>
                  <a:lnTo>
                    <a:pt x="152" y="13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78" name="Freeform 72"/>
            <p:cNvSpPr>
              <a:spLocks/>
            </p:cNvSpPr>
            <p:nvPr/>
          </p:nvSpPr>
          <p:spPr bwMode="auto">
            <a:xfrm>
              <a:off x="2133088" y="1956282"/>
              <a:ext cx="13764" cy="14532"/>
            </a:xfrm>
            <a:custGeom>
              <a:avLst/>
              <a:gdLst>
                <a:gd name="T0" fmla="*/ 18 w 20"/>
                <a:gd name="T1" fmla="*/ 0 h 20"/>
                <a:gd name="T2" fmla="*/ 10 w 20"/>
                <a:gd name="T3" fmla="*/ 4 h 20"/>
                <a:gd name="T4" fmla="*/ 0 w 20"/>
                <a:gd name="T5" fmla="*/ 12 h 20"/>
                <a:gd name="T6" fmla="*/ 2 w 20"/>
                <a:gd name="T7" fmla="*/ 20 h 20"/>
                <a:gd name="T8" fmla="*/ 6 w 20"/>
                <a:gd name="T9" fmla="*/ 20 h 20"/>
                <a:gd name="T10" fmla="*/ 20 w 20"/>
                <a:gd name="T11" fmla="*/ 10 h 20"/>
                <a:gd name="T12" fmla="*/ 18 w 20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18" y="0"/>
                  </a:moveTo>
                  <a:lnTo>
                    <a:pt x="10" y="4"/>
                  </a:lnTo>
                  <a:lnTo>
                    <a:pt x="0" y="12"/>
                  </a:lnTo>
                  <a:lnTo>
                    <a:pt x="2" y="20"/>
                  </a:lnTo>
                  <a:lnTo>
                    <a:pt x="6" y="20"/>
                  </a:lnTo>
                  <a:lnTo>
                    <a:pt x="20" y="1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79" name="Freeform 73"/>
            <p:cNvSpPr>
              <a:spLocks/>
            </p:cNvSpPr>
            <p:nvPr/>
          </p:nvSpPr>
          <p:spPr bwMode="auto">
            <a:xfrm>
              <a:off x="2133088" y="1956282"/>
              <a:ext cx="13764" cy="14532"/>
            </a:xfrm>
            <a:custGeom>
              <a:avLst/>
              <a:gdLst>
                <a:gd name="T0" fmla="*/ 18 w 20"/>
                <a:gd name="T1" fmla="*/ 0 h 20"/>
                <a:gd name="T2" fmla="*/ 10 w 20"/>
                <a:gd name="T3" fmla="*/ 4 h 20"/>
                <a:gd name="T4" fmla="*/ 0 w 20"/>
                <a:gd name="T5" fmla="*/ 12 h 20"/>
                <a:gd name="T6" fmla="*/ 2 w 20"/>
                <a:gd name="T7" fmla="*/ 20 h 20"/>
                <a:gd name="T8" fmla="*/ 6 w 20"/>
                <a:gd name="T9" fmla="*/ 20 h 20"/>
                <a:gd name="T10" fmla="*/ 20 w 20"/>
                <a:gd name="T11" fmla="*/ 10 h 20"/>
                <a:gd name="T12" fmla="*/ 18 w 20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18" y="0"/>
                  </a:moveTo>
                  <a:lnTo>
                    <a:pt x="10" y="4"/>
                  </a:lnTo>
                  <a:lnTo>
                    <a:pt x="0" y="12"/>
                  </a:lnTo>
                  <a:lnTo>
                    <a:pt x="2" y="20"/>
                  </a:lnTo>
                  <a:lnTo>
                    <a:pt x="6" y="20"/>
                  </a:lnTo>
                  <a:lnTo>
                    <a:pt x="20" y="1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80" name="Freeform 74"/>
            <p:cNvSpPr>
              <a:spLocks/>
            </p:cNvSpPr>
            <p:nvPr/>
          </p:nvSpPr>
          <p:spPr bwMode="auto">
            <a:xfrm>
              <a:off x="2146851" y="1513048"/>
              <a:ext cx="222972" cy="472298"/>
            </a:xfrm>
            <a:custGeom>
              <a:avLst/>
              <a:gdLst>
                <a:gd name="T0" fmla="*/ 88 w 324"/>
                <a:gd name="T1" fmla="*/ 628 h 650"/>
                <a:gd name="T2" fmla="*/ 68 w 324"/>
                <a:gd name="T3" fmla="*/ 612 h 650"/>
                <a:gd name="T4" fmla="*/ 44 w 324"/>
                <a:gd name="T5" fmla="*/ 608 h 650"/>
                <a:gd name="T6" fmla="*/ 44 w 324"/>
                <a:gd name="T7" fmla="*/ 556 h 650"/>
                <a:gd name="T8" fmla="*/ 32 w 324"/>
                <a:gd name="T9" fmla="*/ 522 h 650"/>
                <a:gd name="T10" fmla="*/ 30 w 324"/>
                <a:gd name="T11" fmla="*/ 496 h 650"/>
                <a:gd name="T12" fmla="*/ 22 w 324"/>
                <a:gd name="T13" fmla="*/ 472 h 650"/>
                <a:gd name="T14" fmla="*/ 38 w 324"/>
                <a:gd name="T15" fmla="*/ 448 h 650"/>
                <a:gd name="T16" fmla="*/ 46 w 324"/>
                <a:gd name="T17" fmla="*/ 426 h 650"/>
                <a:gd name="T18" fmla="*/ 78 w 324"/>
                <a:gd name="T19" fmla="*/ 400 h 650"/>
                <a:gd name="T20" fmla="*/ 102 w 324"/>
                <a:gd name="T21" fmla="*/ 368 h 650"/>
                <a:gd name="T22" fmla="*/ 118 w 324"/>
                <a:gd name="T23" fmla="*/ 342 h 650"/>
                <a:gd name="T24" fmla="*/ 132 w 324"/>
                <a:gd name="T25" fmla="*/ 322 h 650"/>
                <a:gd name="T26" fmla="*/ 134 w 324"/>
                <a:gd name="T27" fmla="*/ 304 h 650"/>
                <a:gd name="T28" fmla="*/ 128 w 324"/>
                <a:gd name="T29" fmla="*/ 284 h 650"/>
                <a:gd name="T30" fmla="*/ 112 w 324"/>
                <a:gd name="T31" fmla="*/ 276 h 650"/>
                <a:gd name="T32" fmla="*/ 88 w 324"/>
                <a:gd name="T33" fmla="*/ 226 h 650"/>
                <a:gd name="T34" fmla="*/ 90 w 324"/>
                <a:gd name="T35" fmla="*/ 184 h 650"/>
                <a:gd name="T36" fmla="*/ 78 w 324"/>
                <a:gd name="T37" fmla="*/ 140 h 650"/>
                <a:gd name="T38" fmla="*/ 60 w 324"/>
                <a:gd name="T39" fmla="*/ 114 h 650"/>
                <a:gd name="T40" fmla="*/ 22 w 324"/>
                <a:gd name="T41" fmla="*/ 92 h 650"/>
                <a:gd name="T42" fmla="*/ 8 w 324"/>
                <a:gd name="T43" fmla="*/ 70 h 650"/>
                <a:gd name="T44" fmla="*/ 12 w 324"/>
                <a:gd name="T45" fmla="*/ 56 h 650"/>
                <a:gd name="T46" fmla="*/ 36 w 324"/>
                <a:gd name="T47" fmla="*/ 68 h 650"/>
                <a:gd name="T48" fmla="*/ 78 w 324"/>
                <a:gd name="T49" fmla="*/ 78 h 650"/>
                <a:gd name="T50" fmla="*/ 96 w 324"/>
                <a:gd name="T51" fmla="*/ 90 h 650"/>
                <a:gd name="T52" fmla="*/ 118 w 324"/>
                <a:gd name="T53" fmla="*/ 70 h 650"/>
                <a:gd name="T54" fmla="*/ 132 w 324"/>
                <a:gd name="T55" fmla="*/ 56 h 650"/>
                <a:gd name="T56" fmla="*/ 128 w 324"/>
                <a:gd name="T57" fmla="*/ 26 h 650"/>
                <a:gd name="T58" fmla="*/ 150 w 324"/>
                <a:gd name="T59" fmla="*/ 12 h 650"/>
                <a:gd name="T60" fmla="*/ 180 w 324"/>
                <a:gd name="T61" fmla="*/ 18 h 650"/>
                <a:gd name="T62" fmla="*/ 180 w 324"/>
                <a:gd name="T63" fmla="*/ 42 h 650"/>
                <a:gd name="T64" fmla="*/ 156 w 324"/>
                <a:gd name="T65" fmla="*/ 66 h 650"/>
                <a:gd name="T66" fmla="*/ 182 w 324"/>
                <a:gd name="T67" fmla="*/ 60 h 650"/>
                <a:gd name="T68" fmla="*/ 186 w 324"/>
                <a:gd name="T69" fmla="*/ 20 h 650"/>
                <a:gd name="T70" fmla="*/ 202 w 324"/>
                <a:gd name="T71" fmla="*/ 44 h 650"/>
                <a:gd name="T72" fmla="*/ 196 w 324"/>
                <a:gd name="T73" fmla="*/ 82 h 650"/>
                <a:gd name="T74" fmla="*/ 220 w 324"/>
                <a:gd name="T75" fmla="*/ 114 h 650"/>
                <a:gd name="T76" fmla="*/ 234 w 324"/>
                <a:gd name="T77" fmla="*/ 142 h 650"/>
                <a:gd name="T78" fmla="*/ 236 w 324"/>
                <a:gd name="T79" fmla="*/ 188 h 650"/>
                <a:gd name="T80" fmla="*/ 258 w 324"/>
                <a:gd name="T81" fmla="*/ 252 h 650"/>
                <a:gd name="T82" fmla="*/ 266 w 324"/>
                <a:gd name="T83" fmla="*/ 322 h 650"/>
                <a:gd name="T84" fmla="*/ 276 w 324"/>
                <a:gd name="T85" fmla="*/ 372 h 650"/>
                <a:gd name="T86" fmla="*/ 308 w 324"/>
                <a:gd name="T87" fmla="*/ 408 h 650"/>
                <a:gd name="T88" fmla="*/ 324 w 324"/>
                <a:gd name="T89" fmla="*/ 434 h 650"/>
                <a:gd name="T90" fmla="*/ 306 w 324"/>
                <a:gd name="T91" fmla="*/ 490 h 650"/>
                <a:gd name="T92" fmla="*/ 298 w 324"/>
                <a:gd name="T93" fmla="*/ 520 h 650"/>
                <a:gd name="T94" fmla="*/ 282 w 324"/>
                <a:gd name="T95" fmla="*/ 536 h 650"/>
                <a:gd name="T96" fmla="*/ 242 w 324"/>
                <a:gd name="T97" fmla="*/ 576 h 650"/>
                <a:gd name="T98" fmla="*/ 222 w 324"/>
                <a:gd name="T99" fmla="*/ 594 h 650"/>
                <a:gd name="T100" fmla="*/ 196 w 324"/>
                <a:gd name="T101" fmla="*/ 604 h 650"/>
                <a:gd name="T102" fmla="*/ 158 w 324"/>
                <a:gd name="T103" fmla="*/ 616 h 650"/>
                <a:gd name="T104" fmla="*/ 120 w 324"/>
                <a:gd name="T105" fmla="*/ 632 h 650"/>
                <a:gd name="T106" fmla="*/ 90 w 324"/>
                <a:gd name="T107" fmla="*/ 65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4" h="650">
                  <a:moveTo>
                    <a:pt x="90" y="650"/>
                  </a:moveTo>
                  <a:lnTo>
                    <a:pt x="88" y="628"/>
                  </a:lnTo>
                  <a:lnTo>
                    <a:pt x="76" y="618"/>
                  </a:lnTo>
                  <a:lnTo>
                    <a:pt x="68" y="612"/>
                  </a:lnTo>
                  <a:lnTo>
                    <a:pt x="54" y="608"/>
                  </a:lnTo>
                  <a:lnTo>
                    <a:pt x="44" y="608"/>
                  </a:lnTo>
                  <a:lnTo>
                    <a:pt x="38" y="596"/>
                  </a:lnTo>
                  <a:lnTo>
                    <a:pt x="44" y="556"/>
                  </a:lnTo>
                  <a:lnTo>
                    <a:pt x="42" y="532"/>
                  </a:lnTo>
                  <a:lnTo>
                    <a:pt x="32" y="522"/>
                  </a:lnTo>
                  <a:lnTo>
                    <a:pt x="28" y="516"/>
                  </a:lnTo>
                  <a:lnTo>
                    <a:pt x="30" y="496"/>
                  </a:lnTo>
                  <a:lnTo>
                    <a:pt x="28" y="482"/>
                  </a:lnTo>
                  <a:lnTo>
                    <a:pt x="22" y="472"/>
                  </a:lnTo>
                  <a:lnTo>
                    <a:pt x="30" y="448"/>
                  </a:lnTo>
                  <a:lnTo>
                    <a:pt x="38" y="448"/>
                  </a:lnTo>
                  <a:lnTo>
                    <a:pt x="44" y="442"/>
                  </a:lnTo>
                  <a:lnTo>
                    <a:pt x="46" y="426"/>
                  </a:lnTo>
                  <a:lnTo>
                    <a:pt x="62" y="414"/>
                  </a:lnTo>
                  <a:lnTo>
                    <a:pt x="78" y="400"/>
                  </a:lnTo>
                  <a:lnTo>
                    <a:pt x="82" y="384"/>
                  </a:lnTo>
                  <a:lnTo>
                    <a:pt x="102" y="368"/>
                  </a:lnTo>
                  <a:lnTo>
                    <a:pt x="120" y="348"/>
                  </a:lnTo>
                  <a:lnTo>
                    <a:pt x="118" y="342"/>
                  </a:lnTo>
                  <a:lnTo>
                    <a:pt x="118" y="330"/>
                  </a:lnTo>
                  <a:lnTo>
                    <a:pt x="132" y="322"/>
                  </a:lnTo>
                  <a:lnTo>
                    <a:pt x="136" y="320"/>
                  </a:lnTo>
                  <a:lnTo>
                    <a:pt x="134" y="304"/>
                  </a:lnTo>
                  <a:lnTo>
                    <a:pt x="134" y="288"/>
                  </a:lnTo>
                  <a:lnTo>
                    <a:pt x="128" y="284"/>
                  </a:lnTo>
                  <a:lnTo>
                    <a:pt x="120" y="288"/>
                  </a:lnTo>
                  <a:lnTo>
                    <a:pt x="112" y="276"/>
                  </a:lnTo>
                  <a:lnTo>
                    <a:pt x="104" y="248"/>
                  </a:lnTo>
                  <a:lnTo>
                    <a:pt x="88" y="226"/>
                  </a:lnTo>
                  <a:lnTo>
                    <a:pt x="92" y="196"/>
                  </a:lnTo>
                  <a:lnTo>
                    <a:pt x="90" y="184"/>
                  </a:lnTo>
                  <a:lnTo>
                    <a:pt x="70" y="164"/>
                  </a:lnTo>
                  <a:lnTo>
                    <a:pt x="78" y="140"/>
                  </a:lnTo>
                  <a:lnTo>
                    <a:pt x="74" y="126"/>
                  </a:lnTo>
                  <a:lnTo>
                    <a:pt x="60" y="114"/>
                  </a:lnTo>
                  <a:lnTo>
                    <a:pt x="52" y="122"/>
                  </a:lnTo>
                  <a:lnTo>
                    <a:pt x="22" y="92"/>
                  </a:lnTo>
                  <a:lnTo>
                    <a:pt x="14" y="82"/>
                  </a:lnTo>
                  <a:lnTo>
                    <a:pt x="8" y="70"/>
                  </a:lnTo>
                  <a:lnTo>
                    <a:pt x="0" y="66"/>
                  </a:lnTo>
                  <a:lnTo>
                    <a:pt x="12" y="56"/>
                  </a:lnTo>
                  <a:lnTo>
                    <a:pt x="28" y="56"/>
                  </a:lnTo>
                  <a:lnTo>
                    <a:pt x="36" y="68"/>
                  </a:lnTo>
                  <a:lnTo>
                    <a:pt x="58" y="92"/>
                  </a:lnTo>
                  <a:lnTo>
                    <a:pt x="78" y="78"/>
                  </a:lnTo>
                  <a:lnTo>
                    <a:pt x="92" y="82"/>
                  </a:lnTo>
                  <a:lnTo>
                    <a:pt x="96" y="90"/>
                  </a:lnTo>
                  <a:lnTo>
                    <a:pt x="112" y="92"/>
                  </a:lnTo>
                  <a:lnTo>
                    <a:pt x="118" y="70"/>
                  </a:lnTo>
                  <a:lnTo>
                    <a:pt x="126" y="64"/>
                  </a:lnTo>
                  <a:lnTo>
                    <a:pt x="132" y="56"/>
                  </a:lnTo>
                  <a:lnTo>
                    <a:pt x="132" y="48"/>
                  </a:lnTo>
                  <a:lnTo>
                    <a:pt x="128" y="26"/>
                  </a:lnTo>
                  <a:lnTo>
                    <a:pt x="142" y="12"/>
                  </a:lnTo>
                  <a:lnTo>
                    <a:pt x="150" y="12"/>
                  </a:lnTo>
                  <a:lnTo>
                    <a:pt x="164" y="0"/>
                  </a:lnTo>
                  <a:lnTo>
                    <a:pt x="180" y="18"/>
                  </a:lnTo>
                  <a:lnTo>
                    <a:pt x="186" y="26"/>
                  </a:lnTo>
                  <a:lnTo>
                    <a:pt x="180" y="42"/>
                  </a:lnTo>
                  <a:lnTo>
                    <a:pt x="166" y="52"/>
                  </a:lnTo>
                  <a:lnTo>
                    <a:pt x="156" y="66"/>
                  </a:lnTo>
                  <a:lnTo>
                    <a:pt x="158" y="78"/>
                  </a:lnTo>
                  <a:lnTo>
                    <a:pt x="182" y="60"/>
                  </a:lnTo>
                  <a:lnTo>
                    <a:pt x="182" y="44"/>
                  </a:lnTo>
                  <a:lnTo>
                    <a:pt x="186" y="20"/>
                  </a:lnTo>
                  <a:lnTo>
                    <a:pt x="194" y="16"/>
                  </a:lnTo>
                  <a:lnTo>
                    <a:pt x="202" y="44"/>
                  </a:lnTo>
                  <a:lnTo>
                    <a:pt x="202" y="70"/>
                  </a:lnTo>
                  <a:lnTo>
                    <a:pt x="196" y="82"/>
                  </a:lnTo>
                  <a:lnTo>
                    <a:pt x="196" y="98"/>
                  </a:lnTo>
                  <a:lnTo>
                    <a:pt x="220" y="114"/>
                  </a:lnTo>
                  <a:lnTo>
                    <a:pt x="220" y="124"/>
                  </a:lnTo>
                  <a:lnTo>
                    <a:pt x="234" y="142"/>
                  </a:lnTo>
                  <a:lnTo>
                    <a:pt x="238" y="156"/>
                  </a:lnTo>
                  <a:lnTo>
                    <a:pt x="236" y="188"/>
                  </a:lnTo>
                  <a:lnTo>
                    <a:pt x="244" y="224"/>
                  </a:lnTo>
                  <a:lnTo>
                    <a:pt x="258" y="252"/>
                  </a:lnTo>
                  <a:lnTo>
                    <a:pt x="254" y="296"/>
                  </a:lnTo>
                  <a:lnTo>
                    <a:pt x="266" y="322"/>
                  </a:lnTo>
                  <a:lnTo>
                    <a:pt x="272" y="334"/>
                  </a:lnTo>
                  <a:lnTo>
                    <a:pt x="276" y="372"/>
                  </a:lnTo>
                  <a:lnTo>
                    <a:pt x="282" y="390"/>
                  </a:lnTo>
                  <a:lnTo>
                    <a:pt x="308" y="408"/>
                  </a:lnTo>
                  <a:lnTo>
                    <a:pt x="324" y="424"/>
                  </a:lnTo>
                  <a:lnTo>
                    <a:pt x="324" y="434"/>
                  </a:lnTo>
                  <a:lnTo>
                    <a:pt x="312" y="484"/>
                  </a:lnTo>
                  <a:lnTo>
                    <a:pt x="306" y="490"/>
                  </a:lnTo>
                  <a:lnTo>
                    <a:pt x="312" y="500"/>
                  </a:lnTo>
                  <a:lnTo>
                    <a:pt x="298" y="520"/>
                  </a:lnTo>
                  <a:lnTo>
                    <a:pt x="282" y="528"/>
                  </a:lnTo>
                  <a:lnTo>
                    <a:pt x="282" y="536"/>
                  </a:lnTo>
                  <a:lnTo>
                    <a:pt x="258" y="568"/>
                  </a:lnTo>
                  <a:lnTo>
                    <a:pt x="242" y="576"/>
                  </a:lnTo>
                  <a:lnTo>
                    <a:pt x="238" y="594"/>
                  </a:lnTo>
                  <a:lnTo>
                    <a:pt x="222" y="594"/>
                  </a:lnTo>
                  <a:lnTo>
                    <a:pt x="214" y="600"/>
                  </a:lnTo>
                  <a:lnTo>
                    <a:pt x="196" y="604"/>
                  </a:lnTo>
                  <a:lnTo>
                    <a:pt x="174" y="602"/>
                  </a:lnTo>
                  <a:lnTo>
                    <a:pt x="158" y="616"/>
                  </a:lnTo>
                  <a:lnTo>
                    <a:pt x="140" y="626"/>
                  </a:lnTo>
                  <a:lnTo>
                    <a:pt x="120" y="632"/>
                  </a:lnTo>
                  <a:lnTo>
                    <a:pt x="106" y="642"/>
                  </a:lnTo>
                  <a:lnTo>
                    <a:pt x="90" y="65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81" name="Freeform 75"/>
            <p:cNvSpPr>
              <a:spLocks/>
            </p:cNvSpPr>
            <p:nvPr/>
          </p:nvSpPr>
          <p:spPr bwMode="auto">
            <a:xfrm>
              <a:off x="2146851" y="1513048"/>
              <a:ext cx="222972" cy="472298"/>
            </a:xfrm>
            <a:custGeom>
              <a:avLst/>
              <a:gdLst>
                <a:gd name="T0" fmla="*/ 88 w 324"/>
                <a:gd name="T1" fmla="*/ 628 h 650"/>
                <a:gd name="T2" fmla="*/ 68 w 324"/>
                <a:gd name="T3" fmla="*/ 612 h 650"/>
                <a:gd name="T4" fmla="*/ 44 w 324"/>
                <a:gd name="T5" fmla="*/ 608 h 650"/>
                <a:gd name="T6" fmla="*/ 44 w 324"/>
                <a:gd name="T7" fmla="*/ 556 h 650"/>
                <a:gd name="T8" fmla="*/ 32 w 324"/>
                <a:gd name="T9" fmla="*/ 522 h 650"/>
                <a:gd name="T10" fmla="*/ 30 w 324"/>
                <a:gd name="T11" fmla="*/ 496 h 650"/>
                <a:gd name="T12" fmla="*/ 22 w 324"/>
                <a:gd name="T13" fmla="*/ 472 h 650"/>
                <a:gd name="T14" fmla="*/ 38 w 324"/>
                <a:gd name="T15" fmla="*/ 448 h 650"/>
                <a:gd name="T16" fmla="*/ 46 w 324"/>
                <a:gd name="T17" fmla="*/ 426 h 650"/>
                <a:gd name="T18" fmla="*/ 78 w 324"/>
                <a:gd name="T19" fmla="*/ 400 h 650"/>
                <a:gd name="T20" fmla="*/ 102 w 324"/>
                <a:gd name="T21" fmla="*/ 368 h 650"/>
                <a:gd name="T22" fmla="*/ 118 w 324"/>
                <a:gd name="T23" fmla="*/ 342 h 650"/>
                <a:gd name="T24" fmla="*/ 132 w 324"/>
                <a:gd name="T25" fmla="*/ 322 h 650"/>
                <a:gd name="T26" fmla="*/ 134 w 324"/>
                <a:gd name="T27" fmla="*/ 304 h 650"/>
                <a:gd name="T28" fmla="*/ 128 w 324"/>
                <a:gd name="T29" fmla="*/ 284 h 650"/>
                <a:gd name="T30" fmla="*/ 112 w 324"/>
                <a:gd name="T31" fmla="*/ 276 h 650"/>
                <a:gd name="T32" fmla="*/ 88 w 324"/>
                <a:gd name="T33" fmla="*/ 226 h 650"/>
                <a:gd name="T34" fmla="*/ 90 w 324"/>
                <a:gd name="T35" fmla="*/ 184 h 650"/>
                <a:gd name="T36" fmla="*/ 78 w 324"/>
                <a:gd name="T37" fmla="*/ 140 h 650"/>
                <a:gd name="T38" fmla="*/ 60 w 324"/>
                <a:gd name="T39" fmla="*/ 114 h 650"/>
                <a:gd name="T40" fmla="*/ 22 w 324"/>
                <a:gd name="T41" fmla="*/ 92 h 650"/>
                <a:gd name="T42" fmla="*/ 8 w 324"/>
                <a:gd name="T43" fmla="*/ 70 h 650"/>
                <a:gd name="T44" fmla="*/ 12 w 324"/>
                <a:gd name="T45" fmla="*/ 56 h 650"/>
                <a:gd name="T46" fmla="*/ 36 w 324"/>
                <a:gd name="T47" fmla="*/ 68 h 650"/>
                <a:gd name="T48" fmla="*/ 78 w 324"/>
                <a:gd name="T49" fmla="*/ 78 h 650"/>
                <a:gd name="T50" fmla="*/ 96 w 324"/>
                <a:gd name="T51" fmla="*/ 90 h 650"/>
                <a:gd name="T52" fmla="*/ 118 w 324"/>
                <a:gd name="T53" fmla="*/ 70 h 650"/>
                <a:gd name="T54" fmla="*/ 132 w 324"/>
                <a:gd name="T55" fmla="*/ 56 h 650"/>
                <a:gd name="T56" fmla="*/ 128 w 324"/>
                <a:gd name="T57" fmla="*/ 26 h 650"/>
                <a:gd name="T58" fmla="*/ 150 w 324"/>
                <a:gd name="T59" fmla="*/ 12 h 650"/>
                <a:gd name="T60" fmla="*/ 180 w 324"/>
                <a:gd name="T61" fmla="*/ 18 h 650"/>
                <a:gd name="T62" fmla="*/ 180 w 324"/>
                <a:gd name="T63" fmla="*/ 42 h 650"/>
                <a:gd name="T64" fmla="*/ 156 w 324"/>
                <a:gd name="T65" fmla="*/ 66 h 650"/>
                <a:gd name="T66" fmla="*/ 182 w 324"/>
                <a:gd name="T67" fmla="*/ 60 h 650"/>
                <a:gd name="T68" fmla="*/ 186 w 324"/>
                <a:gd name="T69" fmla="*/ 20 h 650"/>
                <a:gd name="T70" fmla="*/ 202 w 324"/>
                <a:gd name="T71" fmla="*/ 44 h 650"/>
                <a:gd name="T72" fmla="*/ 196 w 324"/>
                <a:gd name="T73" fmla="*/ 82 h 650"/>
                <a:gd name="T74" fmla="*/ 220 w 324"/>
                <a:gd name="T75" fmla="*/ 114 h 650"/>
                <a:gd name="T76" fmla="*/ 234 w 324"/>
                <a:gd name="T77" fmla="*/ 142 h 650"/>
                <a:gd name="T78" fmla="*/ 236 w 324"/>
                <a:gd name="T79" fmla="*/ 188 h 650"/>
                <a:gd name="T80" fmla="*/ 258 w 324"/>
                <a:gd name="T81" fmla="*/ 252 h 650"/>
                <a:gd name="T82" fmla="*/ 266 w 324"/>
                <a:gd name="T83" fmla="*/ 322 h 650"/>
                <a:gd name="T84" fmla="*/ 276 w 324"/>
                <a:gd name="T85" fmla="*/ 372 h 650"/>
                <a:gd name="T86" fmla="*/ 308 w 324"/>
                <a:gd name="T87" fmla="*/ 408 h 650"/>
                <a:gd name="T88" fmla="*/ 324 w 324"/>
                <a:gd name="T89" fmla="*/ 434 h 650"/>
                <a:gd name="T90" fmla="*/ 306 w 324"/>
                <a:gd name="T91" fmla="*/ 490 h 650"/>
                <a:gd name="T92" fmla="*/ 298 w 324"/>
                <a:gd name="T93" fmla="*/ 520 h 650"/>
                <a:gd name="T94" fmla="*/ 282 w 324"/>
                <a:gd name="T95" fmla="*/ 536 h 650"/>
                <a:gd name="T96" fmla="*/ 242 w 324"/>
                <a:gd name="T97" fmla="*/ 576 h 650"/>
                <a:gd name="T98" fmla="*/ 222 w 324"/>
                <a:gd name="T99" fmla="*/ 594 h 650"/>
                <a:gd name="T100" fmla="*/ 196 w 324"/>
                <a:gd name="T101" fmla="*/ 604 h 650"/>
                <a:gd name="T102" fmla="*/ 158 w 324"/>
                <a:gd name="T103" fmla="*/ 616 h 650"/>
                <a:gd name="T104" fmla="*/ 120 w 324"/>
                <a:gd name="T105" fmla="*/ 632 h 650"/>
                <a:gd name="T106" fmla="*/ 90 w 324"/>
                <a:gd name="T107" fmla="*/ 65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4" h="650">
                  <a:moveTo>
                    <a:pt x="90" y="650"/>
                  </a:moveTo>
                  <a:lnTo>
                    <a:pt x="88" y="628"/>
                  </a:lnTo>
                  <a:lnTo>
                    <a:pt x="76" y="618"/>
                  </a:lnTo>
                  <a:lnTo>
                    <a:pt x="68" y="612"/>
                  </a:lnTo>
                  <a:lnTo>
                    <a:pt x="54" y="608"/>
                  </a:lnTo>
                  <a:lnTo>
                    <a:pt x="44" y="608"/>
                  </a:lnTo>
                  <a:lnTo>
                    <a:pt x="38" y="596"/>
                  </a:lnTo>
                  <a:lnTo>
                    <a:pt x="44" y="556"/>
                  </a:lnTo>
                  <a:lnTo>
                    <a:pt x="42" y="532"/>
                  </a:lnTo>
                  <a:lnTo>
                    <a:pt x="32" y="522"/>
                  </a:lnTo>
                  <a:lnTo>
                    <a:pt x="28" y="516"/>
                  </a:lnTo>
                  <a:lnTo>
                    <a:pt x="30" y="496"/>
                  </a:lnTo>
                  <a:lnTo>
                    <a:pt x="28" y="482"/>
                  </a:lnTo>
                  <a:lnTo>
                    <a:pt x="22" y="472"/>
                  </a:lnTo>
                  <a:lnTo>
                    <a:pt x="30" y="448"/>
                  </a:lnTo>
                  <a:lnTo>
                    <a:pt x="38" y="448"/>
                  </a:lnTo>
                  <a:lnTo>
                    <a:pt x="44" y="442"/>
                  </a:lnTo>
                  <a:lnTo>
                    <a:pt x="46" y="426"/>
                  </a:lnTo>
                  <a:lnTo>
                    <a:pt x="62" y="414"/>
                  </a:lnTo>
                  <a:lnTo>
                    <a:pt x="78" y="400"/>
                  </a:lnTo>
                  <a:lnTo>
                    <a:pt x="82" y="384"/>
                  </a:lnTo>
                  <a:lnTo>
                    <a:pt x="102" y="368"/>
                  </a:lnTo>
                  <a:lnTo>
                    <a:pt x="120" y="348"/>
                  </a:lnTo>
                  <a:lnTo>
                    <a:pt x="118" y="342"/>
                  </a:lnTo>
                  <a:lnTo>
                    <a:pt x="118" y="330"/>
                  </a:lnTo>
                  <a:lnTo>
                    <a:pt x="132" y="322"/>
                  </a:lnTo>
                  <a:lnTo>
                    <a:pt x="136" y="320"/>
                  </a:lnTo>
                  <a:lnTo>
                    <a:pt x="134" y="304"/>
                  </a:lnTo>
                  <a:lnTo>
                    <a:pt x="134" y="288"/>
                  </a:lnTo>
                  <a:lnTo>
                    <a:pt x="128" y="284"/>
                  </a:lnTo>
                  <a:lnTo>
                    <a:pt x="120" y="288"/>
                  </a:lnTo>
                  <a:lnTo>
                    <a:pt x="112" y="276"/>
                  </a:lnTo>
                  <a:lnTo>
                    <a:pt x="104" y="248"/>
                  </a:lnTo>
                  <a:lnTo>
                    <a:pt x="88" y="226"/>
                  </a:lnTo>
                  <a:lnTo>
                    <a:pt x="92" y="196"/>
                  </a:lnTo>
                  <a:lnTo>
                    <a:pt x="90" y="184"/>
                  </a:lnTo>
                  <a:lnTo>
                    <a:pt x="70" y="164"/>
                  </a:lnTo>
                  <a:lnTo>
                    <a:pt x="78" y="140"/>
                  </a:lnTo>
                  <a:lnTo>
                    <a:pt x="74" y="126"/>
                  </a:lnTo>
                  <a:lnTo>
                    <a:pt x="60" y="114"/>
                  </a:lnTo>
                  <a:lnTo>
                    <a:pt x="52" y="122"/>
                  </a:lnTo>
                  <a:lnTo>
                    <a:pt x="22" y="92"/>
                  </a:lnTo>
                  <a:lnTo>
                    <a:pt x="14" y="82"/>
                  </a:lnTo>
                  <a:lnTo>
                    <a:pt x="8" y="70"/>
                  </a:lnTo>
                  <a:lnTo>
                    <a:pt x="0" y="66"/>
                  </a:lnTo>
                  <a:lnTo>
                    <a:pt x="12" y="56"/>
                  </a:lnTo>
                  <a:lnTo>
                    <a:pt x="28" y="56"/>
                  </a:lnTo>
                  <a:lnTo>
                    <a:pt x="36" y="68"/>
                  </a:lnTo>
                  <a:lnTo>
                    <a:pt x="58" y="92"/>
                  </a:lnTo>
                  <a:lnTo>
                    <a:pt x="78" y="78"/>
                  </a:lnTo>
                  <a:lnTo>
                    <a:pt x="92" y="82"/>
                  </a:lnTo>
                  <a:lnTo>
                    <a:pt x="96" y="90"/>
                  </a:lnTo>
                  <a:lnTo>
                    <a:pt x="112" y="92"/>
                  </a:lnTo>
                  <a:lnTo>
                    <a:pt x="118" y="70"/>
                  </a:lnTo>
                  <a:lnTo>
                    <a:pt x="126" y="64"/>
                  </a:lnTo>
                  <a:lnTo>
                    <a:pt x="132" y="56"/>
                  </a:lnTo>
                  <a:lnTo>
                    <a:pt x="132" y="48"/>
                  </a:lnTo>
                  <a:lnTo>
                    <a:pt x="128" y="26"/>
                  </a:lnTo>
                  <a:lnTo>
                    <a:pt x="142" y="12"/>
                  </a:lnTo>
                  <a:lnTo>
                    <a:pt x="150" y="12"/>
                  </a:lnTo>
                  <a:lnTo>
                    <a:pt x="164" y="0"/>
                  </a:lnTo>
                  <a:lnTo>
                    <a:pt x="180" y="18"/>
                  </a:lnTo>
                  <a:lnTo>
                    <a:pt x="186" y="26"/>
                  </a:lnTo>
                  <a:lnTo>
                    <a:pt x="180" y="42"/>
                  </a:lnTo>
                  <a:lnTo>
                    <a:pt x="166" y="52"/>
                  </a:lnTo>
                  <a:lnTo>
                    <a:pt x="156" y="66"/>
                  </a:lnTo>
                  <a:lnTo>
                    <a:pt x="158" y="78"/>
                  </a:lnTo>
                  <a:lnTo>
                    <a:pt x="182" y="60"/>
                  </a:lnTo>
                  <a:lnTo>
                    <a:pt x="182" y="44"/>
                  </a:lnTo>
                  <a:lnTo>
                    <a:pt x="186" y="20"/>
                  </a:lnTo>
                  <a:lnTo>
                    <a:pt x="194" y="16"/>
                  </a:lnTo>
                  <a:lnTo>
                    <a:pt x="202" y="44"/>
                  </a:lnTo>
                  <a:lnTo>
                    <a:pt x="202" y="70"/>
                  </a:lnTo>
                  <a:lnTo>
                    <a:pt x="196" y="82"/>
                  </a:lnTo>
                  <a:lnTo>
                    <a:pt x="196" y="98"/>
                  </a:lnTo>
                  <a:lnTo>
                    <a:pt x="220" y="114"/>
                  </a:lnTo>
                  <a:lnTo>
                    <a:pt x="220" y="124"/>
                  </a:lnTo>
                  <a:lnTo>
                    <a:pt x="234" y="142"/>
                  </a:lnTo>
                  <a:lnTo>
                    <a:pt x="238" y="156"/>
                  </a:lnTo>
                  <a:lnTo>
                    <a:pt x="236" y="188"/>
                  </a:lnTo>
                  <a:lnTo>
                    <a:pt x="244" y="224"/>
                  </a:lnTo>
                  <a:lnTo>
                    <a:pt x="258" y="252"/>
                  </a:lnTo>
                  <a:lnTo>
                    <a:pt x="254" y="296"/>
                  </a:lnTo>
                  <a:lnTo>
                    <a:pt x="266" y="322"/>
                  </a:lnTo>
                  <a:lnTo>
                    <a:pt x="272" y="334"/>
                  </a:lnTo>
                  <a:lnTo>
                    <a:pt x="276" y="372"/>
                  </a:lnTo>
                  <a:lnTo>
                    <a:pt x="282" y="390"/>
                  </a:lnTo>
                  <a:lnTo>
                    <a:pt x="308" y="408"/>
                  </a:lnTo>
                  <a:lnTo>
                    <a:pt x="324" y="424"/>
                  </a:lnTo>
                  <a:lnTo>
                    <a:pt x="324" y="434"/>
                  </a:lnTo>
                  <a:lnTo>
                    <a:pt x="312" y="484"/>
                  </a:lnTo>
                  <a:lnTo>
                    <a:pt x="306" y="490"/>
                  </a:lnTo>
                  <a:lnTo>
                    <a:pt x="312" y="500"/>
                  </a:lnTo>
                  <a:lnTo>
                    <a:pt x="298" y="520"/>
                  </a:lnTo>
                  <a:lnTo>
                    <a:pt x="282" y="528"/>
                  </a:lnTo>
                  <a:lnTo>
                    <a:pt x="282" y="536"/>
                  </a:lnTo>
                  <a:lnTo>
                    <a:pt x="258" y="568"/>
                  </a:lnTo>
                  <a:lnTo>
                    <a:pt x="242" y="576"/>
                  </a:lnTo>
                  <a:lnTo>
                    <a:pt x="238" y="594"/>
                  </a:lnTo>
                  <a:lnTo>
                    <a:pt x="222" y="594"/>
                  </a:lnTo>
                  <a:lnTo>
                    <a:pt x="214" y="600"/>
                  </a:lnTo>
                  <a:lnTo>
                    <a:pt x="196" y="604"/>
                  </a:lnTo>
                  <a:lnTo>
                    <a:pt x="174" y="602"/>
                  </a:lnTo>
                  <a:lnTo>
                    <a:pt x="158" y="616"/>
                  </a:lnTo>
                  <a:lnTo>
                    <a:pt x="140" y="626"/>
                  </a:lnTo>
                  <a:lnTo>
                    <a:pt x="120" y="632"/>
                  </a:lnTo>
                  <a:lnTo>
                    <a:pt x="106" y="642"/>
                  </a:lnTo>
                  <a:lnTo>
                    <a:pt x="90" y="65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82" name="Freeform 76"/>
            <p:cNvSpPr>
              <a:spLocks/>
            </p:cNvSpPr>
            <p:nvPr/>
          </p:nvSpPr>
          <p:spPr bwMode="auto">
            <a:xfrm>
              <a:off x="1911492" y="2389342"/>
              <a:ext cx="205079" cy="116258"/>
            </a:xfrm>
            <a:custGeom>
              <a:avLst/>
              <a:gdLst>
                <a:gd name="T0" fmla="*/ 72 w 298"/>
                <a:gd name="T1" fmla="*/ 152 h 160"/>
                <a:gd name="T2" fmla="*/ 70 w 298"/>
                <a:gd name="T3" fmla="*/ 144 h 160"/>
                <a:gd name="T4" fmla="*/ 62 w 298"/>
                <a:gd name="T5" fmla="*/ 140 h 160"/>
                <a:gd name="T6" fmla="*/ 26 w 298"/>
                <a:gd name="T7" fmla="*/ 108 h 160"/>
                <a:gd name="T8" fmla="*/ 24 w 298"/>
                <a:gd name="T9" fmla="*/ 92 h 160"/>
                <a:gd name="T10" fmla="*/ 8 w 298"/>
                <a:gd name="T11" fmla="*/ 90 h 160"/>
                <a:gd name="T12" fmla="*/ 10 w 298"/>
                <a:gd name="T13" fmla="*/ 74 h 160"/>
                <a:gd name="T14" fmla="*/ 4 w 298"/>
                <a:gd name="T15" fmla="*/ 60 h 160"/>
                <a:gd name="T16" fmla="*/ 0 w 298"/>
                <a:gd name="T17" fmla="*/ 52 h 160"/>
                <a:gd name="T18" fmla="*/ 2 w 298"/>
                <a:gd name="T19" fmla="*/ 42 h 160"/>
                <a:gd name="T20" fmla="*/ 14 w 298"/>
                <a:gd name="T21" fmla="*/ 42 h 160"/>
                <a:gd name="T22" fmla="*/ 34 w 298"/>
                <a:gd name="T23" fmla="*/ 38 h 160"/>
                <a:gd name="T24" fmla="*/ 92 w 298"/>
                <a:gd name="T25" fmla="*/ 8 h 160"/>
                <a:gd name="T26" fmla="*/ 106 w 298"/>
                <a:gd name="T27" fmla="*/ 0 h 160"/>
                <a:gd name="T28" fmla="*/ 114 w 298"/>
                <a:gd name="T29" fmla="*/ 10 h 160"/>
                <a:gd name="T30" fmla="*/ 126 w 298"/>
                <a:gd name="T31" fmla="*/ 4 h 160"/>
                <a:gd name="T32" fmla="*/ 138 w 298"/>
                <a:gd name="T33" fmla="*/ 6 h 160"/>
                <a:gd name="T34" fmla="*/ 146 w 298"/>
                <a:gd name="T35" fmla="*/ 10 h 160"/>
                <a:gd name="T36" fmla="*/ 146 w 298"/>
                <a:gd name="T37" fmla="*/ 24 h 160"/>
                <a:gd name="T38" fmla="*/ 168 w 298"/>
                <a:gd name="T39" fmla="*/ 38 h 160"/>
                <a:gd name="T40" fmla="*/ 168 w 298"/>
                <a:gd name="T41" fmla="*/ 48 h 160"/>
                <a:gd name="T42" fmla="*/ 176 w 298"/>
                <a:gd name="T43" fmla="*/ 58 h 160"/>
                <a:gd name="T44" fmla="*/ 182 w 298"/>
                <a:gd name="T45" fmla="*/ 62 h 160"/>
                <a:gd name="T46" fmla="*/ 186 w 298"/>
                <a:gd name="T47" fmla="*/ 58 h 160"/>
                <a:gd name="T48" fmla="*/ 202 w 298"/>
                <a:gd name="T49" fmla="*/ 50 h 160"/>
                <a:gd name="T50" fmla="*/ 208 w 298"/>
                <a:gd name="T51" fmla="*/ 52 h 160"/>
                <a:gd name="T52" fmla="*/ 228 w 298"/>
                <a:gd name="T53" fmla="*/ 72 h 160"/>
                <a:gd name="T54" fmla="*/ 232 w 298"/>
                <a:gd name="T55" fmla="*/ 72 h 160"/>
                <a:gd name="T56" fmla="*/ 252 w 298"/>
                <a:gd name="T57" fmla="*/ 84 h 160"/>
                <a:gd name="T58" fmla="*/ 282 w 298"/>
                <a:gd name="T59" fmla="*/ 82 h 160"/>
                <a:gd name="T60" fmla="*/ 298 w 298"/>
                <a:gd name="T61" fmla="*/ 92 h 160"/>
                <a:gd name="T62" fmla="*/ 264 w 298"/>
                <a:gd name="T63" fmla="*/ 110 h 160"/>
                <a:gd name="T64" fmla="*/ 264 w 298"/>
                <a:gd name="T65" fmla="*/ 132 h 160"/>
                <a:gd name="T66" fmla="*/ 244 w 298"/>
                <a:gd name="T67" fmla="*/ 150 h 160"/>
                <a:gd name="T68" fmla="*/ 222 w 298"/>
                <a:gd name="T69" fmla="*/ 148 h 160"/>
                <a:gd name="T70" fmla="*/ 210 w 298"/>
                <a:gd name="T71" fmla="*/ 154 h 160"/>
                <a:gd name="T72" fmla="*/ 196 w 298"/>
                <a:gd name="T73" fmla="*/ 160 h 160"/>
                <a:gd name="T74" fmla="*/ 176 w 298"/>
                <a:gd name="T75" fmla="*/ 148 h 160"/>
                <a:gd name="T76" fmla="*/ 166 w 298"/>
                <a:gd name="T77" fmla="*/ 154 h 160"/>
                <a:gd name="T78" fmla="*/ 154 w 298"/>
                <a:gd name="T79" fmla="*/ 156 h 160"/>
                <a:gd name="T80" fmla="*/ 146 w 298"/>
                <a:gd name="T81" fmla="*/ 142 h 160"/>
                <a:gd name="T82" fmla="*/ 120 w 298"/>
                <a:gd name="T83" fmla="*/ 142 h 160"/>
                <a:gd name="T84" fmla="*/ 112 w 298"/>
                <a:gd name="T85" fmla="*/ 148 h 160"/>
                <a:gd name="T86" fmla="*/ 106 w 298"/>
                <a:gd name="T87" fmla="*/ 154 h 160"/>
                <a:gd name="T88" fmla="*/ 94 w 298"/>
                <a:gd name="T89" fmla="*/ 154 h 160"/>
                <a:gd name="T90" fmla="*/ 82 w 298"/>
                <a:gd name="T91" fmla="*/ 156 h 160"/>
                <a:gd name="T92" fmla="*/ 72 w 298"/>
                <a:gd name="T93" fmla="*/ 152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98" h="160">
                  <a:moveTo>
                    <a:pt x="72" y="152"/>
                  </a:moveTo>
                  <a:lnTo>
                    <a:pt x="70" y="144"/>
                  </a:lnTo>
                  <a:lnTo>
                    <a:pt x="62" y="140"/>
                  </a:lnTo>
                  <a:lnTo>
                    <a:pt x="26" y="108"/>
                  </a:lnTo>
                  <a:lnTo>
                    <a:pt x="24" y="92"/>
                  </a:lnTo>
                  <a:lnTo>
                    <a:pt x="8" y="90"/>
                  </a:lnTo>
                  <a:lnTo>
                    <a:pt x="10" y="74"/>
                  </a:lnTo>
                  <a:lnTo>
                    <a:pt x="4" y="60"/>
                  </a:lnTo>
                  <a:lnTo>
                    <a:pt x="0" y="52"/>
                  </a:lnTo>
                  <a:lnTo>
                    <a:pt x="2" y="42"/>
                  </a:lnTo>
                  <a:lnTo>
                    <a:pt x="14" y="42"/>
                  </a:lnTo>
                  <a:lnTo>
                    <a:pt x="34" y="38"/>
                  </a:lnTo>
                  <a:lnTo>
                    <a:pt x="92" y="8"/>
                  </a:lnTo>
                  <a:lnTo>
                    <a:pt x="106" y="0"/>
                  </a:lnTo>
                  <a:lnTo>
                    <a:pt x="114" y="10"/>
                  </a:lnTo>
                  <a:lnTo>
                    <a:pt x="126" y="4"/>
                  </a:lnTo>
                  <a:lnTo>
                    <a:pt x="138" y="6"/>
                  </a:lnTo>
                  <a:lnTo>
                    <a:pt x="146" y="10"/>
                  </a:lnTo>
                  <a:lnTo>
                    <a:pt x="146" y="24"/>
                  </a:lnTo>
                  <a:lnTo>
                    <a:pt x="168" y="38"/>
                  </a:lnTo>
                  <a:lnTo>
                    <a:pt x="168" y="48"/>
                  </a:lnTo>
                  <a:lnTo>
                    <a:pt x="176" y="58"/>
                  </a:lnTo>
                  <a:lnTo>
                    <a:pt x="182" y="62"/>
                  </a:lnTo>
                  <a:lnTo>
                    <a:pt x="186" y="58"/>
                  </a:lnTo>
                  <a:lnTo>
                    <a:pt x="202" y="50"/>
                  </a:lnTo>
                  <a:lnTo>
                    <a:pt x="208" y="52"/>
                  </a:lnTo>
                  <a:lnTo>
                    <a:pt x="228" y="72"/>
                  </a:lnTo>
                  <a:lnTo>
                    <a:pt x="232" y="72"/>
                  </a:lnTo>
                  <a:lnTo>
                    <a:pt x="252" y="84"/>
                  </a:lnTo>
                  <a:lnTo>
                    <a:pt x="282" y="82"/>
                  </a:lnTo>
                  <a:lnTo>
                    <a:pt x="298" y="92"/>
                  </a:lnTo>
                  <a:lnTo>
                    <a:pt x="264" y="110"/>
                  </a:lnTo>
                  <a:lnTo>
                    <a:pt x="264" y="132"/>
                  </a:lnTo>
                  <a:lnTo>
                    <a:pt x="244" y="150"/>
                  </a:lnTo>
                  <a:lnTo>
                    <a:pt x="222" y="148"/>
                  </a:lnTo>
                  <a:lnTo>
                    <a:pt x="210" y="154"/>
                  </a:lnTo>
                  <a:lnTo>
                    <a:pt x="196" y="160"/>
                  </a:lnTo>
                  <a:lnTo>
                    <a:pt x="176" y="148"/>
                  </a:lnTo>
                  <a:lnTo>
                    <a:pt x="166" y="154"/>
                  </a:lnTo>
                  <a:lnTo>
                    <a:pt x="154" y="156"/>
                  </a:lnTo>
                  <a:lnTo>
                    <a:pt x="146" y="142"/>
                  </a:lnTo>
                  <a:lnTo>
                    <a:pt x="120" y="142"/>
                  </a:lnTo>
                  <a:lnTo>
                    <a:pt x="112" y="148"/>
                  </a:lnTo>
                  <a:lnTo>
                    <a:pt x="106" y="154"/>
                  </a:lnTo>
                  <a:lnTo>
                    <a:pt x="94" y="154"/>
                  </a:lnTo>
                  <a:lnTo>
                    <a:pt x="82" y="156"/>
                  </a:lnTo>
                  <a:lnTo>
                    <a:pt x="72" y="15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83" name="Freeform 77"/>
            <p:cNvSpPr>
              <a:spLocks/>
            </p:cNvSpPr>
            <p:nvPr/>
          </p:nvSpPr>
          <p:spPr bwMode="auto">
            <a:xfrm>
              <a:off x="1911492" y="2389342"/>
              <a:ext cx="205079" cy="116258"/>
            </a:xfrm>
            <a:custGeom>
              <a:avLst/>
              <a:gdLst>
                <a:gd name="T0" fmla="*/ 72 w 298"/>
                <a:gd name="T1" fmla="*/ 152 h 160"/>
                <a:gd name="T2" fmla="*/ 70 w 298"/>
                <a:gd name="T3" fmla="*/ 144 h 160"/>
                <a:gd name="T4" fmla="*/ 62 w 298"/>
                <a:gd name="T5" fmla="*/ 140 h 160"/>
                <a:gd name="T6" fmla="*/ 26 w 298"/>
                <a:gd name="T7" fmla="*/ 108 h 160"/>
                <a:gd name="T8" fmla="*/ 24 w 298"/>
                <a:gd name="T9" fmla="*/ 92 h 160"/>
                <a:gd name="T10" fmla="*/ 8 w 298"/>
                <a:gd name="T11" fmla="*/ 90 h 160"/>
                <a:gd name="T12" fmla="*/ 10 w 298"/>
                <a:gd name="T13" fmla="*/ 74 h 160"/>
                <a:gd name="T14" fmla="*/ 4 w 298"/>
                <a:gd name="T15" fmla="*/ 60 h 160"/>
                <a:gd name="T16" fmla="*/ 0 w 298"/>
                <a:gd name="T17" fmla="*/ 52 h 160"/>
                <a:gd name="T18" fmla="*/ 2 w 298"/>
                <a:gd name="T19" fmla="*/ 42 h 160"/>
                <a:gd name="T20" fmla="*/ 14 w 298"/>
                <a:gd name="T21" fmla="*/ 42 h 160"/>
                <a:gd name="T22" fmla="*/ 34 w 298"/>
                <a:gd name="T23" fmla="*/ 38 h 160"/>
                <a:gd name="T24" fmla="*/ 92 w 298"/>
                <a:gd name="T25" fmla="*/ 8 h 160"/>
                <a:gd name="T26" fmla="*/ 106 w 298"/>
                <a:gd name="T27" fmla="*/ 0 h 160"/>
                <a:gd name="T28" fmla="*/ 114 w 298"/>
                <a:gd name="T29" fmla="*/ 10 h 160"/>
                <a:gd name="T30" fmla="*/ 126 w 298"/>
                <a:gd name="T31" fmla="*/ 4 h 160"/>
                <a:gd name="T32" fmla="*/ 138 w 298"/>
                <a:gd name="T33" fmla="*/ 6 h 160"/>
                <a:gd name="T34" fmla="*/ 146 w 298"/>
                <a:gd name="T35" fmla="*/ 10 h 160"/>
                <a:gd name="T36" fmla="*/ 146 w 298"/>
                <a:gd name="T37" fmla="*/ 24 h 160"/>
                <a:gd name="T38" fmla="*/ 168 w 298"/>
                <a:gd name="T39" fmla="*/ 38 h 160"/>
                <a:gd name="T40" fmla="*/ 168 w 298"/>
                <a:gd name="T41" fmla="*/ 48 h 160"/>
                <a:gd name="T42" fmla="*/ 176 w 298"/>
                <a:gd name="T43" fmla="*/ 58 h 160"/>
                <a:gd name="T44" fmla="*/ 182 w 298"/>
                <a:gd name="T45" fmla="*/ 62 h 160"/>
                <a:gd name="T46" fmla="*/ 186 w 298"/>
                <a:gd name="T47" fmla="*/ 58 h 160"/>
                <a:gd name="T48" fmla="*/ 202 w 298"/>
                <a:gd name="T49" fmla="*/ 50 h 160"/>
                <a:gd name="T50" fmla="*/ 208 w 298"/>
                <a:gd name="T51" fmla="*/ 52 h 160"/>
                <a:gd name="T52" fmla="*/ 228 w 298"/>
                <a:gd name="T53" fmla="*/ 72 h 160"/>
                <a:gd name="T54" fmla="*/ 232 w 298"/>
                <a:gd name="T55" fmla="*/ 72 h 160"/>
                <a:gd name="T56" fmla="*/ 252 w 298"/>
                <a:gd name="T57" fmla="*/ 84 h 160"/>
                <a:gd name="T58" fmla="*/ 282 w 298"/>
                <a:gd name="T59" fmla="*/ 82 h 160"/>
                <a:gd name="T60" fmla="*/ 298 w 298"/>
                <a:gd name="T61" fmla="*/ 92 h 160"/>
                <a:gd name="T62" fmla="*/ 264 w 298"/>
                <a:gd name="T63" fmla="*/ 110 h 160"/>
                <a:gd name="T64" fmla="*/ 264 w 298"/>
                <a:gd name="T65" fmla="*/ 132 h 160"/>
                <a:gd name="T66" fmla="*/ 244 w 298"/>
                <a:gd name="T67" fmla="*/ 150 h 160"/>
                <a:gd name="T68" fmla="*/ 222 w 298"/>
                <a:gd name="T69" fmla="*/ 148 h 160"/>
                <a:gd name="T70" fmla="*/ 210 w 298"/>
                <a:gd name="T71" fmla="*/ 154 h 160"/>
                <a:gd name="T72" fmla="*/ 196 w 298"/>
                <a:gd name="T73" fmla="*/ 160 h 160"/>
                <a:gd name="T74" fmla="*/ 176 w 298"/>
                <a:gd name="T75" fmla="*/ 148 h 160"/>
                <a:gd name="T76" fmla="*/ 166 w 298"/>
                <a:gd name="T77" fmla="*/ 154 h 160"/>
                <a:gd name="T78" fmla="*/ 154 w 298"/>
                <a:gd name="T79" fmla="*/ 156 h 160"/>
                <a:gd name="T80" fmla="*/ 146 w 298"/>
                <a:gd name="T81" fmla="*/ 142 h 160"/>
                <a:gd name="T82" fmla="*/ 120 w 298"/>
                <a:gd name="T83" fmla="*/ 142 h 160"/>
                <a:gd name="T84" fmla="*/ 112 w 298"/>
                <a:gd name="T85" fmla="*/ 148 h 160"/>
                <a:gd name="T86" fmla="*/ 106 w 298"/>
                <a:gd name="T87" fmla="*/ 154 h 160"/>
                <a:gd name="T88" fmla="*/ 94 w 298"/>
                <a:gd name="T89" fmla="*/ 154 h 160"/>
                <a:gd name="T90" fmla="*/ 82 w 298"/>
                <a:gd name="T91" fmla="*/ 156 h 160"/>
                <a:gd name="T92" fmla="*/ 72 w 298"/>
                <a:gd name="T93" fmla="*/ 152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98" h="160">
                  <a:moveTo>
                    <a:pt x="72" y="152"/>
                  </a:moveTo>
                  <a:lnTo>
                    <a:pt x="70" y="144"/>
                  </a:lnTo>
                  <a:lnTo>
                    <a:pt x="62" y="140"/>
                  </a:lnTo>
                  <a:lnTo>
                    <a:pt x="26" y="108"/>
                  </a:lnTo>
                  <a:lnTo>
                    <a:pt x="24" y="92"/>
                  </a:lnTo>
                  <a:lnTo>
                    <a:pt x="8" y="90"/>
                  </a:lnTo>
                  <a:lnTo>
                    <a:pt x="10" y="74"/>
                  </a:lnTo>
                  <a:lnTo>
                    <a:pt x="4" y="60"/>
                  </a:lnTo>
                  <a:lnTo>
                    <a:pt x="0" y="52"/>
                  </a:lnTo>
                  <a:lnTo>
                    <a:pt x="2" y="42"/>
                  </a:lnTo>
                  <a:lnTo>
                    <a:pt x="14" y="42"/>
                  </a:lnTo>
                  <a:lnTo>
                    <a:pt x="34" y="38"/>
                  </a:lnTo>
                  <a:lnTo>
                    <a:pt x="92" y="8"/>
                  </a:lnTo>
                  <a:lnTo>
                    <a:pt x="106" y="0"/>
                  </a:lnTo>
                  <a:lnTo>
                    <a:pt x="114" y="10"/>
                  </a:lnTo>
                  <a:lnTo>
                    <a:pt x="126" y="4"/>
                  </a:lnTo>
                  <a:lnTo>
                    <a:pt x="138" y="6"/>
                  </a:lnTo>
                  <a:lnTo>
                    <a:pt x="146" y="10"/>
                  </a:lnTo>
                  <a:lnTo>
                    <a:pt x="146" y="24"/>
                  </a:lnTo>
                  <a:lnTo>
                    <a:pt x="168" y="38"/>
                  </a:lnTo>
                  <a:lnTo>
                    <a:pt x="168" y="48"/>
                  </a:lnTo>
                  <a:lnTo>
                    <a:pt x="176" y="58"/>
                  </a:lnTo>
                  <a:lnTo>
                    <a:pt x="182" y="62"/>
                  </a:lnTo>
                  <a:lnTo>
                    <a:pt x="186" y="58"/>
                  </a:lnTo>
                  <a:lnTo>
                    <a:pt x="202" y="50"/>
                  </a:lnTo>
                  <a:lnTo>
                    <a:pt x="208" y="52"/>
                  </a:lnTo>
                  <a:lnTo>
                    <a:pt x="228" y="72"/>
                  </a:lnTo>
                  <a:lnTo>
                    <a:pt x="232" y="72"/>
                  </a:lnTo>
                  <a:lnTo>
                    <a:pt x="252" y="84"/>
                  </a:lnTo>
                  <a:lnTo>
                    <a:pt x="282" y="82"/>
                  </a:lnTo>
                  <a:lnTo>
                    <a:pt x="298" y="92"/>
                  </a:lnTo>
                  <a:lnTo>
                    <a:pt x="264" y="110"/>
                  </a:lnTo>
                  <a:lnTo>
                    <a:pt x="264" y="132"/>
                  </a:lnTo>
                  <a:lnTo>
                    <a:pt x="244" y="150"/>
                  </a:lnTo>
                  <a:lnTo>
                    <a:pt x="222" y="148"/>
                  </a:lnTo>
                  <a:lnTo>
                    <a:pt x="210" y="154"/>
                  </a:lnTo>
                  <a:lnTo>
                    <a:pt x="196" y="160"/>
                  </a:lnTo>
                  <a:lnTo>
                    <a:pt x="176" y="148"/>
                  </a:lnTo>
                  <a:lnTo>
                    <a:pt x="166" y="154"/>
                  </a:lnTo>
                  <a:lnTo>
                    <a:pt x="154" y="156"/>
                  </a:lnTo>
                  <a:lnTo>
                    <a:pt x="146" y="142"/>
                  </a:lnTo>
                  <a:lnTo>
                    <a:pt x="120" y="142"/>
                  </a:lnTo>
                  <a:lnTo>
                    <a:pt x="112" y="148"/>
                  </a:lnTo>
                  <a:lnTo>
                    <a:pt x="106" y="154"/>
                  </a:lnTo>
                  <a:lnTo>
                    <a:pt x="94" y="154"/>
                  </a:lnTo>
                  <a:lnTo>
                    <a:pt x="82" y="156"/>
                  </a:lnTo>
                  <a:lnTo>
                    <a:pt x="72" y="15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84" name="Freeform 78"/>
            <p:cNvSpPr>
              <a:spLocks/>
            </p:cNvSpPr>
            <p:nvPr/>
          </p:nvSpPr>
          <p:spPr bwMode="auto">
            <a:xfrm>
              <a:off x="1932138" y="2604420"/>
              <a:ext cx="184434" cy="186013"/>
            </a:xfrm>
            <a:custGeom>
              <a:avLst/>
              <a:gdLst>
                <a:gd name="T0" fmla="*/ 4 w 268"/>
                <a:gd name="T1" fmla="*/ 72 h 256"/>
                <a:gd name="T2" fmla="*/ 16 w 268"/>
                <a:gd name="T3" fmla="*/ 92 h 256"/>
                <a:gd name="T4" fmla="*/ 30 w 268"/>
                <a:gd name="T5" fmla="*/ 90 h 256"/>
                <a:gd name="T6" fmla="*/ 40 w 268"/>
                <a:gd name="T7" fmla="*/ 70 h 256"/>
                <a:gd name="T8" fmla="*/ 60 w 268"/>
                <a:gd name="T9" fmla="*/ 80 h 256"/>
                <a:gd name="T10" fmla="*/ 64 w 268"/>
                <a:gd name="T11" fmla="*/ 96 h 256"/>
                <a:gd name="T12" fmla="*/ 74 w 268"/>
                <a:gd name="T13" fmla="*/ 120 h 256"/>
                <a:gd name="T14" fmla="*/ 84 w 268"/>
                <a:gd name="T15" fmla="*/ 136 h 256"/>
                <a:gd name="T16" fmla="*/ 78 w 268"/>
                <a:gd name="T17" fmla="*/ 142 h 256"/>
                <a:gd name="T18" fmla="*/ 118 w 268"/>
                <a:gd name="T19" fmla="*/ 186 h 256"/>
                <a:gd name="T20" fmla="*/ 138 w 268"/>
                <a:gd name="T21" fmla="*/ 188 h 256"/>
                <a:gd name="T22" fmla="*/ 168 w 268"/>
                <a:gd name="T23" fmla="*/ 208 h 256"/>
                <a:gd name="T24" fmla="*/ 176 w 268"/>
                <a:gd name="T25" fmla="*/ 226 h 256"/>
                <a:gd name="T26" fmla="*/ 184 w 268"/>
                <a:gd name="T27" fmla="*/ 224 h 256"/>
                <a:gd name="T28" fmla="*/ 202 w 268"/>
                <a:gd name="T29" fmla="*/ 234 h 256"/>
                <a:gd name="T30" fmla="*/ 214 w 268"/>
                <a:gd name="T31" fmla="*/ 234 h 256"/>
                <a:gd name="T32" fmla="*/ 214 w 268"/>
                <a:gd name="T33" fmla="*/ 216 h 256"/>
                <a:gd name="T34" fmla="*/ 200 w 268"/>
                <a:gd name="T35" fmla="*/ 198 h 256"/>
                <a:gd name="T36" fmla="*/ 168 w 268"/>
                <a:gd name="T37" fmla="*/ 166 h 256"/>
                <a:gd name="T38" fmla="*/ 158 w 268"/>
                <a:gd name="T39" fmla="*/ 164 h 256"/>
                <a:gd name="T40" fmla="*/ 146 w 268"/>
                <a:gd name="T41" fmla="*/ 156 h 256"/>
                <a:gd name="T42" fmla="*/ 138 w 268"/>
                <a:gd name="T43" fmla="*/ 142 h 256"/>
                <a:gd name="T44" fmla="*/ 124 w 268"/>
                <a:gd name="T45" fmla="*/ 118 h 256"/>
                <a:gd name="T46" fmla="*/ 100 w 268"/>
                <a:gd name="T47" fmla="*/ 90 h 256"/>
                <a:gd name="T48" fmla="*/ 112 w 268"/>
                <a:gd name="T49" fmla="*/ 84 h 256"/>
                <a:gd name="T50" fmla="*/ 164 w 268"/>
                <a:gd name="T51" fmla="*/ 72 h 256"/>
                <a:gd name="T52" fmla="*/ 188 w 268"/>
                <a:gd name="T53" fmla="*/ 88 h 256"/>
                <a:gd name="T54" fmla="*/ 198 w 268"/>
                <a:gd name="T55" fmla="*/ 88 h 256"/>
                <a:gd name="T56" fmla="*/ 218 w 268"/>
                <a:gd name="T57" fmla="*/ 88 h 256"/>
                <a:gd name="T58" fmla="*/ 246 w 268"/>
                <a:gd name="T59" fmla="*/ 88 h 256"/>
                <a:gd name="T60" fmla="*/ 262 w 268"/>
                <a:gd name="T61" fmla="*/ 96 h 256"/>
                <a:gd name="T62" fmla="*/ 268 w 268"/>
                <a:gd name="T63" fmla="*/ 80 h 256"/>
                <a:gd name="T64" fmla="*/ 254 w 268"/>
                <a:gd name="T65" fmla="*/ 64 h 256"/>
                <a:gd name="T66" fmla="*/ 254 w 268"/>
                <a:gd name="T67" fmla="*/ 48 h 256"/>
                <a:gd name="T68" fmla="*/ 242 w 268"/>
                <a:gd name="T69" fmla="*/ 38 h 256"/>
                <a:gd name="T70" fmla="*/ 230 w 268"/>
                <a:gd name="T71" fmla="*/ 42 h 256"/>
                <a:gd name="T72" fmla="*/ 216 w 268"/>
                <a:gd name="T73" fmla="*/ 46 h 256"/>
                <a:gd name="T74" fmla="*/ 196 w 268"/>
                <a:gd name="T75" fmla="*/ 30 h 256"/>
                <a:gd name="T76" fmla="*/ 178 w 268"/>
                <a:gd name="T77" fmla="*/ 24 h 256"/>
                <a:gd name="T78" fmla="*/ 146 w 268"/>
                <a:gd name="T79" fmla="*/ 0 h 256"/>
                <a:gd name="T80" fmla="*/ 116 w 268"/>
                <a:gd name="T81" fmla="*/ 16 h 256"/>
                <a:gd name="T82" fmla="*/ 106 w 268"/>
                <a:gd name="T83" fmla="*/ 32 h 256"/>
                <a:gd name="T84" fmla="*/ 58 w 268"/>
                <a:gd name="T85" fmla="*/ 56 h 256"/>
                <a:gd name="T86" fmla="*/ 30 w 268"/>
                <a:gd name="T87" fmla="*/ 56 h 256"/>
                <a:gd name="T88" fmla="*/ 0 w 268"/>
                <a:gd name="T89" fmla="*/ 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8" h="256">
                  <a:moveTo>
                    <a:pt x="0" y="56"/>
                  </a:moveTo>
                  <a:lnTo>
                    <a:pt x="4" y="72"/>
                  </a:lnTo>
                  <a:lnTo>
                    <a:pt x="10" y="84"/>
                  </a:lnTo>
                  <a:lnTo>
                    <a:pt x="16" y="92"/>
                  </a:lnTo>
                  <a:lnTo>
                    <a:pt x="22" y="94"/>
                  </a:lnTo>
                  <a:lnTo>
                    <a:pt x="30" y="90"/>
                  </a:lnTo>
                  <a:lnTo>
                    <a:pt x="32" y="82"/>
                  </a:lnTo>
                  <a:lnTo>
                    <a:pt x="40" y="70"/>
                  </a:lnTo>
                  <a:lnTo>
                    <a:pt x="50" y="78"/>
                  </a:lnTo>
                  <a:lnTo>
                    <a:pt x="60" y="80"/>
                  </a:lnTo>
                  <a:lnTo>
                    <a:pt x="66" y="84"/>
                  </a:lnTo>
                  <a:lnTo>
                    <a:pt x="64" y="96"/>
                  </a:lnTo>
                  <a:lnTo>
                    <a:pt x="64" y="106"/>
                  </a:lnTo>
                  <a:lnTo>
                    <a:pt x="74" y="120"/>
                  </a:lnTo>
                  <a:lnTo>
                    <a:pt x="86" y="132"/>
                  </a:lnTo>
                  <a:lnTo>
                    <a:pt x="84" y="136"/>
                  </a:lnTo>
                  <a:lnTo>
                    <a:pt x="72" y="136"/>
                  </a:lnTo>
                  <a:lnTo>
                    <a:pt x="78" y="142"/>
                  </a:lnTo>
                  <a:lnTo>
                    <a:pt x="114" y="184"/>
                  </a:lnTo>
                  <a:lnTo>
                    <a:pt x="118" y="186"/>
                  </a:lnTo>
                  <a:lnTo>
                    <a:pt x="130" y="186"/>
                  </a:lnTo>
                  <a:lnTo>
                    <a:pt x="138" y="188"/>
                  </a:lnTo>
                  <a:lnTo>
                    <a:pt x="154" y="196"/>
                  </a:lnTo>
                  <a:lnTo>
                    <a:pt x="168" y="208"/>
                  </a:lnTo>
                  <a:lnTo>
                    <a:pt x="172" y="214"/>
                  </a:lnTo>
                  <a:lnTo>
                    <a:pt x="176" y="226"/>
                  </a:lnTo>
                  <a:lnTo>
                    <a:pt x="180" y="224"/>
                  </a:lnTo>
                  <a:lnTo>
                    <a:pt x="184" y="224"/>
                  </a:lnTo>
                  <a:lnTo>
                    <a:pt x="196" y="228"/>
                  </a:lnTo>
                  <a:lnTo>
                    <a:pt x="202" y="234"/>
                  </a:lnTo>
                  <a:lnTo>
                    <a:pt x="222" y="256"/>
                  </a:lnTo>
                  <a:lnTo>
                    <a:pt x="214" y="234"/>
                  </a:lnTo>
                  <a:lnTo>
                    <a:pt x="208" y="224"/>
                  </a:lnTo>
                  <a:lnTo>
                    <a:pt x="214" y="216"/>
                  </a:lnTo>
                  <a:lnTo>
                    <a:pt x="210" y="208"/>
                  </a:lnTo>
                  <a:lnTo>
                    <a:pt x="200" y="198"/>
                  </a:lnTo>
                  <a:lnTo>
                    <a:pt x="180" y="176"/>
                  </a:lnTo>
                  <a:lnTo>
                    <a:pt x="168" y="166"/>
                  </a:lnTo>
                  <a:lnTo>
                    <a:pt x="164" y="162"/>
                  </a:lnTo>
                  <a:lnTo>
                    <a:pt x="158" y="164"/>
                  </a:lnTo>
                  <a:lnTo>
                    <a:pt x="148" y="156"/>
                  </a:lnTo>
                  <a:lnTo>
                    <a:pt x="146" y="156"/>
                  </a:lnTo>
                  <a:lnTo>
                    <a:pt x="140" y="150"/>
                  </a:lnTo>
                  <a:lnTo>
                    <a:pt x="138" y="142"/>
                  </a:lnTo>
                  <a:lnTo>
                    <a:pt x="134" y="132"/>
                  </a:lnTo>
                  <a:lnTo>
                    <a:pt x="124" y="118"/>
                  </a:lnTo>
                  <a:lnTo>
                    <a:pt x="102" y="96"/>
                  </a:lnTo>
                  <a:lnTo>
                    <a:pt x="100" y="90"/>
                  </a:lnTo>
                  <a:lnTo>
                    <a:pt x="102" y="88"/>
                  </a:lnTo>
                  <a:lnTo>
                    <a:pt x="112" y="84"/>
                  </a:lnTo>
                  <a:lnTo>
                    <a:pt x="144" y="94"/>
                  </a:lnTo>
                  <a:lnTo>
                    <a:pt x="164" y="72"/>
                  </a:lnTo>
                  <a:lnTo>
                    <a:pt x="180" y="86"/>
                  </a:lnTo>
                  <a:lnTo>
                    <a:pt x="188" y="88"/>
                  </a:lnTo>
                  <a:lnTo>
                    <a:pt x="192" y="92"/>
                  </a:lnTo>
                  <a:lnTo>
                    <a:pt x="198" y="88"/>
                  </a:lnTo>
                  <a:lnTo>
                    <a:pt x="208" y="88"/>
                  </a:lnTo>
                  <a:lnTo>
                    <a:pt x="218" y="88"/>
                  </a:lnTo>
                  <a:lnTo>
                    <a:pt x="232" y="82"/>
                  </a:lnTo>
                  <a:lnTo>
                    <a:pt x="246" y="88"/>
                  </a:lnTo>
                  <a:lnTo>
                    <a:pt x="254" y="94"/>
                  </a:lnTo>
                  <a:lnTo>
                    <a:pt x="262" y="96"/>
                  </a:lnTo>
                  <a:lnTo>
                    <a:pt x="264" y="90"/>
                  </a:lnTo>
                  <a:lnTo>
                    <a:pt x="268" y="80"/>
                  </a:lnTo>
                  <a:lnTo>
                    <a:pt x="262" y="74"/>
                  </a:lnTo>
                  <a:lnTo>
                    <a:pt x="254" y="64"/>
                  </a:lnTo>
                  <a:lnTo>
                    <a:pt x="254" y="56"/>
                  </a:lnTo>
                  <a:lnTo>
                    <a:pt x="254" y="48"/>
                  </a:lnTo>
                  <a:lnTo>
                    <a:pt x="254" y="42"/>
                  </a:lnTo>
                  <a:lnTo>
                    <a:pt x="242" y="38"/>
                  </a:lnTo>
                  <a:lnTo>
                    <a:pt x="236" y="36"/>
                  </a:lnTo>
                  <a:lnTo>
                    <a:pt x="230" y="42"/>
                  </a:lnTo>
                  <a:lnTo>
                    <a:pt x="222" y="46"/>
                  </a:lnTo>
                  <a:lnTo>
                    <a:pt x="216" y="46"/>
                  </a:lnTo>
                  <a:lnTo>
                    <a:pt x="206" y="36"/>
                  </a:lnTo>
                  <a:lnTo>
                    <a:pt x="196" y="30"/>
                  </a:lnTo>
                  <a:lnTo>
                    <a:pt x="186" y="32"/>
                  </a:lnTo>
                  <a:lnTo>
                    <a:pt x="178" y="24"/>
                  </a:lnTo>
                  <a:lnTo>
                    <a:pt x="156" y="0"/>
                  </a:lnTo>
                  <a:lnTo>
                    <a:pt x="146" y="0"/>
                  </a:lnTo>
                  <a:lnTo>
                    <a:pt x="130" y="18"/>
                  </a:lnTo>
                  <a:lnTo>
                    <a:pt x="116" y="16"/>
                  </a:lnTo>
                  <a:lnTo>
                    <a:pt x="108" y="24"/>
                  </a:lnTo>
                  <a:lnTo>
                    <a:pt x="106" y="32"/>
                  </a:lnTo>
                  <a:lnTo>
                    <a:pt x="78" y="62"/>
                  </a:lnTo>
                  <a:lnTo>
                    <a:pt x="58" y="56"/>
                  </a:lnTo>
                  <a:lnTo>
                    <a:pt x="38" y="52"/>
                  </a:lnTo>
                  <a:lnTo>
                    <a:pt x="30" y="56"/>
                  </a:lnTo>
                  <a:lnTo>
                    <a:pt x="16" y="62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85" name="Freeform 79"/>
            <p:cNvSpPr>
              <a:spLocks/>
            </p:cNvSpPr>
            <p:nvPr/>
          </p:nvSpPr>
          <p:spPr bwMode="auto">
            <a:xfrm>
              <a:off x="1932138" y="2604420"/>
              <a:ext cx="184434" cy="186013"/>
            </a:xfrm>
            <a:custGeom>
              <a:avLst/>
              <a:gdLst>
                <a:gd name="T0" fmla="*/ 4 w 268"/>
                <a:gd name="T1" fmla="*/ 72 h 256"/>
                <a:gd name="T2" fmla="*/ 16 w 268"/>
                <a:gd name="T3" fmla="*/ 92 h 256"/>
                <a:gd name="T4" fmla="*/ 30 w 268"/>
                <a:gd name="T5" fmla="*/ 90 h 256"/>
                <a:gd name="T6" fmla="*/ 40 w 268"/>
                <a:gd name="T7" fmla="*/ 70 h 256"/>
                <a:gd name="T8" fmla="*/ 60 w 268"/>
                <a:gd name="T9" fmla="*/ 80 h 256"/>
                <a:gd name="T10" fmla="*/ 64 w 268"/>
                <a:gd name="T11" fmla="*/ 96 h 256"/>
                <a:gd name="T12" fmla="*/ 74 w 268"/>
                <a:gd name="T13" fmla="*/ 120 h 256"/>
                <a:gd name="T14" fmla="*/ 84 w 268"/>
                <a:gd name="T15" fmla="*/ 136 h 256"/>
                <a:gd name="T16" fmla="*/ 78 w 268"/>
                <a:gd name="T17" fmla="*/ 142 h 256"/>
                <a:gd name="T18" fmla="*/ 118 w 268"/>
                <a:gd name="T19" fmla="*/ 186 h 256"/>
                <a:gd name="T20" fmla="*/ 138 w 268"/>
                <a:gd name="T21" fmla="*/ 188 h 256"/>
                <a:gd name="T22" fmla="*/ 168 w 268"/>
                <a:gd name="T23" fmla="*/ 208 h 256"/>
                <a:gd name="T24" fmla="*/ 176 w 268"/>
                <a:gd name="T25" fmla="*/ 226 h 256"/>
                <a:gd name="T26" fmla="*/ 184 w 268"/>
                <a:gd name="T27" fmla="*/ 224 h 256"/>
                <a:gd name="T28" fmla="*/ 202 w 268"/>
                <a:gd name="T29" fmla="*/ 234 h 256"/>
                <a:gd name="T30" fmla="*/ 214 w 268"/>
                <a:gd name="T31" fmla="*/ 234 h 256"/>
                <a:gd name="T32" fmla="*/ 214 w 268"/>
                <a:gd name="T33" fmla="*/ 216 h 256"/>
                <a:gd name="T34" fmla="*/ 200 w 268"/>
                <a:gd name="T35" fmla="*/ 198 h 256"/>
                <a:gd name="T36" fmla="*/ 168 w 268"/>
                <a:gd name="T37" fmla="*/ 166 h 256"/>
                <a:gd name="T38" fmla="*/ 158 w 268"/>
                <a:gd name="T39" fmla="*/ 164 h 256"/>
                <a:gd name="T40" fmla="*/ 146 w 268"/>
                <a:gd name="T41" fmla="*/ 156 h 256"/>
                <a:gd name="T42" fmla="*/ 138 w 268"/>
                <a:gd name="T43" fmla="*/ 142 h 256"/>
                <a:gd name="T44" fmla="*/ 124 w 268"/>
                <a:gd name="T45" fmla="*/ 118 h 256"/>
                <a:gd name="T46" fmla="*/ 100 w 268"/>
                <a:gd name="T47" fmla="*/ 90 h 256"/>
                <a:gd name="T48" fmla="*/ 112 w 268"/>
                <a:gd name="T49" fmla="*/ 84 h 256"/>
                <a:gd name="T50" fmla="*/ 164 w 268"/>
                <a:gd name="T51" fmla="*/ 72 h 256"/>
                <a:gd name="T52" fmla="*/ 188 w 268"/>
                <a:gd name="T53" fmla="*/ 88 h 256"/>
                <a:gd name="T54" fmla="*/ 198 w 268"/>
                <a:gd name="T55" fmla="*/ 88 h 256"/>
                <a:gd name="T56" fmla="*/ 218 w 268"/>
                <a:gd name="T57" fmla="*/ 88 h 256"/>
                <a:gd name="T58" fmla="*/ 246 w 268"/>
                <a:gd name="T59" fmla="*/ 88 h 256"/>
                <a:gd name="T60" fmla="*/ 262 w 268"/>
                <a:gd name="T61" fmla="*/ 96 h 256"/>
                <a:gd name="T62" fmla="*/ 268 w 268"/>
                <a:gd name="T63" fmla="*/ 80 h 256"/>
                <a:gd name="T64" fmla="*/ 254 w 268"/>
                <a:gd name="T65" fmla="*/ 64 h 256"/>
                <a:gd name="T66" fmla="*/ 254 w 268"/>
                <a:gd name="T67" fmla="*/ 48 h 256"/>
                <a:gd name="T68" fmla="*/ 242 w 268"/>
                <a:gd name="T69" fmla="*/ 38 h 256"/>
                <a:gd name="T70" fmla="*/ 230 w 268"/>
                <a:gd name="T71" fmla="*/ 42 h 256"/>
                <a:gd name="T72" fmla="*/ 216 w 268"/>
                <a:gd name="T73" fmla="*/ 46 h 256"/>
                <a:gd name="T74" fmla="*/ 196 w 268"/>
                <a:gd name="T75" fmla="*/ 30 h 256"/>
                <a:gd name="T76" fmla="*/ 178 w 268"/>
                <a:gd name="T77" fmla="*/ 24 h 256"/>
                <a:gd name="T78" fmla="*/ 146 w 268"/>
                <a:gd name="T79" fmla="*/ 0 h 256"/>
                <a:gd name="T80" fmla="*/ 116 w 268"/>
                <a:gd name="T81" fmla="*/ 16 h 256"/>
                <a:gd name="T82" fmla="*/ 106 w 268"/>
                <a:gd name="T83" fmla="*/ 32 h 256"/>
                <a:gd name="T84" fmla="*/ 58 w 268"/>
                <a:gd name="T85" fmla="*/ 56 h 256"/>
                <a:gd name="T86" fmla="*/ 30 w 268"/>
                <a:gd name="T87" fmla="*/ 56 h 256"/>
                <a:gd name="T88" fmla="*/ 0 w 268"/>
                <a:gd name="T89" fmla="*/ 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8" h="256">
                  <a:moveTo>
                    <a:pt x="0" y="56"/>
                  </a:moveTo>
                  <a:lnTo>
                    <a:pt x="4" y="72"/>
                  </a:lnTo>
                  <a:lnTo>
                    <a:pt x="10" y="84"/>
                  </a:lnTo>
                  <a:lnTo>
                    <a:pt x="16" y="92"/>
                  </a:lnTo>
                  <a:lnTo>
                    <a:pt x="22" y="94"/>
                  </a:lnTo>
                  <a:lnTo>
                    <a:pt x="30" y="90"/>
                  </a:lnTo>
                  <a:lnTo>
                    <a:pt x="32" y="82"/>
                  </a:lnTo>
                  <a:lnTo>
                    <a:pt x="40" y="70"/>
                  </a:lnTo>
                  <a:lnTo>
                    <a:pt x="50" y="78"/>
                  </a:lnTo>
                  <a:lnTo>
                    <a:pt x="60" y="80"/>
                  </a:lnTo>
                  <a:lnTo>
                    <a:pt x="66" y="84"/>
                  </a:lnTo>
                  <a:lnTo>
                    <a:pt x="64" y="96"/>
                  </a:lnTo>
                  <a:lnTo>
                    <a:pt x="64" y="106"/>
                  </a:lnTo>
                  <a:lnTo>
                    <a:pt x="74" y="120"/>
                  </a:lnTo>
                  <a:lnTo>
                    <a:pt x="86" y="132"/>
                  </a:lnTo>
                  <a:lnTo>
                    <a:pt x="84" y="136"/>
                  </a:lnTo>
                  <a:lnTo>
                    <a:pt x="72" y="136"/>
                  </a:lnTo>
                  <a:lnTo>
                    <a:pt x="78" y="142"/>
                  </a:lnTo>
                  <a:lnTo>
                    <a:pt x="114" y="184"/>
                  </a:lnTo>
                  <a:lnTo>
                    <a:pt x="118" y="186"/>
                  </a:lnTo>
                  <a:lnTo>
                    <a:pt x="130" y="186"/>
                  </a:lnTo>
                  <a:lnTo>
                    <a:pt x="138" y="188"/>
                  </a:lnTo>
                  <a:lnTo>
                    <a:pt x="154" y="196"/>
                  </a:lnTo>
                  <a:lnTo>
                    <a:pt x="168" y="208"/>
                  </a:lnTo>
                  <a:lnTo>
                    <a:pt x="172" y="214"/>
                  </a:lnTo>
                  <a:lnTo>
                    <a:pt x="176" y="226"/>
                  </a:lnTo>
                  <a:lnTo>
                    <a:pt x="180" y="224"/>
                  </a:lnTo>
                  <a:lnTo>
                    <a:pt x="184" y="224"/>
                  </a:lnTo>
                  <a:lnTo>
                    <a:pt x="196" y="228"/>
                  </a:lnTo>
                  <a:lnTo>
                    <a:pt x="202" y="234"/>
                  </a:lnTo>
                  <a:lnTo>
                    <a:pt x="222" y="256"/>
                  </a:lnTo>
                  <a:lnTo>
                    <a:pt x="214" y="234"/>
                  </a:lnTo>
                  <a:lnTo>
                    <a:pt x="208" y="224"/>
                  </a:lnTo>
                  <a:lnTo>
                    <a:pt x="214" y="216"/>
                  </a:lnTo>
                  <a:lnTo>
                    <a:pt x="210" y="208"/>
                  </a:lnTo>
                  <a:lnTo>
                    <a:pt x="200" y="198"/>
                  </a:lnTo>
                  <a:lnTo>
                    <a:pt x="180" y="176"/>
                  </a:lnTo>
                  <a:lnTo>
                    <a:pt x="168" y="166"/>
                  </a:lnTo>
                  <a:lnTo>
                    <a:pt x="164" y="162"/>
                  </a:lnTo>
                  <a:lnTo>
                    <a:pt x="158" y="164"/>
                  </a:lnTo>
                  <a:lnTo>
                    <a:pt x="148" y="156"/>
                  </a:lnTo>
                  <a:lnTo>
                    <a:pt x="146" y="156"/>
                  </a:lnTo>
                  <a:lnTo>
                    <a:pt x="140" y="150"/>
                  </a:lnTo>
                  <a:lnTo>
                    <a:pt x="138" y="142"/>
                  </a:lnTo>
                  <a:lnTo>
                    <a:pt x="134" y="132"/>
                  </a:lnTo>
                  <a:lnTo>
                    <a:pt x="124" y="118"/>
                  </a:lnTo>
                  <a:lnTo>
                    <a:pt x="102" y="96"/>
                  </a:lnTo>
                  <a:lnTo>
                    <a:pt x="100" y="90"/>
                  </a:lnTo>
                  <a:lnTo>
                    <a:pt x="102" y="88"/>
                  </a:lnTo>
                  <a:lnTo>
                    <a:pt x="112" y="84"/>
                  </a:lnTo>
                  <a:lnTo>
                    <a:pt x="144" y="94"/>
                  </a:lnTo>
                  <a:lnTo>
                    <a:pt x="164" y="72"/>
                  </a:lnTo>
                  <a:lnTo>
                    <a:pt x="180" y="86"/>
                  </a:lnTo>
                  <a:lnTo>
                    <a:pt x="188" y="88"/>
                  </a:lnTo>
                  <a:lnTo>
                    <a:pt x="192" y="92"/>
                  </a:lnTo>
                  <a:lnTo>
                    <a:pt x="198" y="88"/>
                  </a:lnTo>
                  <a:lnTo>
                    <a:pt x="208" y="88"/>
                  </a:lnTo>
                  <a:lnTo>
                    <a:pt x="218" y="88"/>
                  </a:lnTo>
                  <a:lnTo>
                    <a:pt x="232" y="82"/>
                  </a:lnTo>
                  <a:lnTo>
                    <a:pt x="246" y="88"/>
                  </a:lnTo>
                  <a:lnTo>
                    <a:pt x="254" y="94"/>
                  </a:lnTo>
                  <a:lnTo>
                    <a:pt x="262" y="96"/>
                  </a:lnTo>
                  <a:lnTo>
                    <a:pt x="264" y="90"/>
                  </a:lnTo>
                  <a:lnTo>
                    <a:pt x="268" y="80"/>
                  </a:lnTo>
                  <a:lnTo>
                    <a:pt x="262" y="74"/>
                  </a:lnTo>
                  <a:lnTo>
                    <a:pt x="254" y="64"/>
                  </a:lnTo>
                  <a:lnTo>
                    <a:pt x="254" y="56"/>
                  </a:lnTo>
                  <a:lnTo>
                    <a:pt x="254" y="48"/>
                  </a:lnTo>
                  <a:lnTo>
                    <a:pt x="254" y="42"/>
                  </a:lnTo>
                  <a:lnTo>
                    <a:pt x="242" y="38"/>
                  </a:lnTo>
                  <a:lnTo>
                    <a:pt x="236" y="36"/>
                  </a:lnTo>
                  <a:lnTo>
                    <a:pt x="230" y="42"/>
                  </a:lnTo>
                  <a:lnTo>
                    <a:pt x="222" y="46"/>
                  </a:lnTo>
                  <a:lnTo>
                    <a:pt x="216" y="46"/>
                  </a:lnTo>
                  <a:lnTo>
                    <a:pt x="206" y="36"/>
                  </a:lnTo>
                  <a:lnTo>
                    <a:pt x="196" y="30"/>
                  </a:lnTo>
                  <a:lnTo>
                    <a:pt x="186" y="32"/>
                  </a:lnTo>
                  <a:lnTo>
                    <a:pt x="178" y="24"/>
                  </a:lnTo>
                  <a:lnTo>
                    <a:pt x="156" y="0"/>
                  </a:lnTo>
                  <a:lnTo>
                    <a:pt x="146" y="0"/>
                  </a:lnTo>
                  <a:lnTo>
                    <a:pt x="130" y="18"/>
                  </a:lnTo>
                  <a:lnTo>
                    <a:pt x="116" y="16"/>
                  </a:lnTo>
                  <a:lnTo>
                    <a:pt x="108" y="24"/>
                  </a:lnTo>
                  <a:lnTo>
                    <a:pt x="106" y="32"/>
                  </a:lnTo>
                  <a:lnTo>
                    <a:pt x="78" y="62"/>
                  </a:lnTo>
                  <a:lnTo>
                    <a:pt x="58" y="56"/>
                  </a:lnTo>
                  <a:lnTo>
                    <a:pt x="38" y="52"/>
                  </a:lnTo>
                  <a:lnTo>
                    <a:pt x="30" y="56"/>
                  </a:lnTo>
                  <a:lnTo>
                    <a:pt x="16" y="62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86" name="Freeform 80"/>
            <p:cNvSpPr>
              <a:spLocks/>
            </p:cNvSpPr>
            <p:nvPr/>
          </p:nvSpPr>
          <p:spPr bwMode="auto">
            <a:xfrm>
              <a:off x="2153733" y="2980804"/>
              <a:ext cx="12387" cy="13079"/>
            </a:xfrm>
            <a:custGeom>
              <a:avLst/>
              <a:gdLst>
                <a:gd name="T0" fmla="*/ 12 w 18"/>
                <a:gd name="T1" fmla="*/ 0 h 18"/>
                <a:gd name="T2" fmla="*/ 18 w 18"/>
                <a:gd name="T3" fmla="*/ 4 h 18"/>
                <a:gd name="T4" fmla="*/ 16 w 18"/>
                <a:gd name="T5" fmla="*/ 10 h 18"/>
                <a:gd name="T6" fmla="*/ 18 w 18"/>
                <a:gd name="T7" fmla="*/ 16 h 18"/>
                <a:gd name="T8" fmla="*/ 12 w 18"/>
                <a:gd name="T9" fmla="*/ 18 h 18"/>
                <a:gd name="T10" fmla="*/ 4 w 18"/>
                <a:gd name="T11" fmla="*/ 16 h 18"/>
                <a:gd name="T12" fmla="*/ 0 w 18"/>
                <a:gd name="T13" fmla="*/ 10 h 18"/>
                <a:gd name="T14" fmla="*/ 12 w 18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8">
                  <a:moveTo>
                    <a:pt x="12" y="0"/>
                  </a:moveTo>
                  <a:lnTo>
                    <a:pt x="18" y="4"/>
                  </a:lnTo>
                  <a:lnTo>
                    <a:pt x="16" y="10"/>
                  </a:lnTo>
                  <a:lnTo>
                    <a:pt x="18" y="16"/>
                  </a:lnTo>
                  <a:lnTo>
                    <a:pt x="12" y="18"/>
                  </a:lnTo>
                  <a:lnTo>
                    <a:pt x="4" y="16"/>
                  </a:lnTo>
                  <a:lnTo>
                    <a:pt x="0" y="1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87" name="Freeform 81"/>
            <p:cNvSpPr>
              <a:spLocks/>
            </p:cNvSpPr>
            <p:nvPr/>
          </p:nvSpPr>
          <p:spPr bwMode="auto">
            <a:xfrm>
              <a:off x="2153733" y="2980804"/>
              <a:ext cx="12387" cy="13079"/>
            </a:xfrm>
            <a:custGeom>
              <a:avLst/>
              <a:gdLst>
                <a:gd name="T0" fmla="*/ 12 w 18"/>
                <a:gd name="T1" fmla="*/ 0 h 18"/>
                <a:gd name="T2" fmla="*/ 18 w 18"/>
                <a:gd name="T3" fmla="*/ 4 h 18"/>
                <a:gd name="T4" fmla="*/ 16 w 18"/>
                <a:gd name="T5" fmla="*/ 10 h 18"/>
                <a:gd name="T6" fmla="*/ 18 w 18"/>
                <a:gd name="T7" fmla="*/ 16 h 18"/>
                <a:gd name="T8" fmla="*/ 12 w 18"/>
                <a:gd name="T9" fmla="*/ 18 h 18"/>
                <a:gd name="T10" fmla="*/ 4 w 18"/>
                <a:gd name="T11" fmla="*/ 16 h 18"/>
                <a:gd name="T12" fmla="*/ 0 w 18"/>
                <a:gd name="T13" fmla="*/ 10 h 18"/>
                <a:gd name="T14" fmla="*/ 12 w 18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8">
                  <a:moveTo>
                    <a:pt x="12" y="0"/>
                  </a:moveTo>
                  <a:lnTo>
                    <a:pt x="18" y="4"/>
                  </a:lnTo>
                  <a:lnTo>
                    <a:pt x="16" y="10"/>
                  </a:lnTo>
                  <a:lnTo>
                    <a:pt x="18" y="16"/>
                  </a:lnTo>
                  <a:lnTo>
                    <a:pt x="12" y="18"/>
                  </a:lnTo>
                  <a:lnTo>
                    <a:pt x="4" y="16"/>
                  </a:lnTo>
                  <a:lnTo>
                    <a:pt x="0" y="1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88" name="Freeform 82"/>
            <p:cNvSpPr>
              <a:spLocks/>
            </p:cNvSpPr>
            <p:nvPr/>
          </p:nvSpPr>
          <p:spPr bwMode="auto">
            <a:xfrm>
              <a:off x="2178508" y="2986617"/>
              <a:ext cx="93593" cy="84287"/>
            </a:xfrm>
            <a:custGeom>
              <a:avLst/>
              <a:gdLst>
                <a:gd name="T0" fmla="*/ 20 w 136"/>
                <a:gd name="T1" fmla="*/ 4 h 116"/>
                <a:gd name="T2" fmla="*/ 12 w 136"/>
                <a:gd name="T3" fmla="*/ 8 h 116"/>
                <a:gd name="T4" fmla="*/ 14 w 136"/>
                <a:gd name="T5" fmla="*/ 14 h 116"/>
                <a:gd name="T6" fmla="*/ 8 w 136"/>
                <a:gd name="T7" fmla="*/ 22 h 116"/>
                <a:gd name="T8" fmla="*/ 2 w 136"/>
                <a:gd name="T9" fmla="*/ 20 h 116"/>
                <a:gd name="T10" fmla="*/ 0 w 136"/>
                <a:gd name="T11" fmla="*/ 24 h 116"/>
                <a:gd name="T12" fmla="*/ 2 w 136"/>
                <a:gd name="T13" fmla="*/ 32 h 116"/>
                <a:gd name="T14" fmla="*/ 24 w 136"/>
                <a:gd name="T15" fmla="*/ 40 h 116"/>
                <a:gd name="T16" fmla="*/ 28 w 136"/>
                <a:gd name="T17" fmla="*/ 58 h 116"/>
                <a:gd name="T18" fmla="*/ 36 w 136"/>
                <a:gd name="T19" fmla="*/ 80 h 116"/>
                <a:gd name="T20" fmla="*/ 44 w 136"/>
                <a:gd name="T21" fmla="*/ 92 h 116"/>
                <a:gd name="T22" fmla="*/ 52 w 136"/>
                <a:gd name="T23" fmla="*/ 84 h 116"/>
                <a:gd name="T24" fmla="*/ 66 w 136"/>
                <a:gd name="T25" fmla="*/ 100 h 116"/>
                <a:gd name="T26" fmla="*/ 78 w 136"/>
                <a:gd name="T27" fmla="*/ 116 h 116"/>
                <a:gd name="T28" fmla="*/ 82 w 136"/>
                <a:gd name="T29" fmla="*/ 104 h 116"/>
                <a:gd name="T30" fmla="*/ 80 w 136"/>
                <a:gd name="T31" fmla="*/ 96 h 116"/>
                <a:gd name="T32" fmla="*/ 84 w 136"/>
                <a:gd name="T33" fmla="*/ 92 h 116"/>
                <a:gd name="T34" fmla="*/ 104 w 136"/>
                <a:gd name="T35" fmla="*/ 106 h 116"/>
                <a:gd name="T36" fmla="*/ 110 w 136"/>
                <a:gd name="T37" fmla="*/ 102 h 116"/>
                <a:gd name="T38" fmla="*/ 110 w 136"/>
                <a:gd name="T39" fmla="*/ 98 h 116"/>
                <a:gd name="T40" fmla="*/ 102 w 136"/>
                <a:gd name="T41" fmla="*/ 78 h 116"/>
                <a:gd name="T42" fmla="*/ 102 w 136"/>
                <a:gd name="T43" fmla="*/ 76 h 116"/>
                <a:gd name="T44" fmla="*/ 92 w 136"/>
                <a:gd name="T45" fmla="*/ 60 h 116"/>
                <a:gd name="T46" fmla="*/ 88 w 136"/>
                <a:gd name="T47" fmla="*/ 50 h 116"/>
                <a:gd name="T48" fmla="*/ 92 w 136"/>
                <a:gd name="T49" fmla="*/ 48 h 116"/>
                <a:gd name="T50" fmla="*/ 104 w 136"/>
                <a:gd name="T51" fmla="*/ 50 h 116"/>
                <a:gd name="T52" fmla="*/ 116 w 136"/>
                <a:gd name="T53" fmla="*/ 62 h 116"/>
                <a:gd name="T54" fmla="*/ 122 w 136"/>
                <a:gd name="T55" fmla="*/ 54 h 116"/>
                <a:gd name="T56" fmla="*/ 134 w 136"/>
                <a:gd name="T57" fmla="*/ 56 h 116"/>
                <a:gd name="T58" fmla="*/ 136 w 136"/>
                <a:gd name="T59" fmla="*/ 52 h 116"/>
                <a:gd name="T60" fmla="*/ 122 w 136"/>
                <a:gd name="T61" fmla="*/ 36 h 116"/>
                <a:gd name="T62" fmla="*/ 110 w 136"/>
                <a:gd name="T63" fmla="*/ 36 h 116"/>
                <a:gd name="T64" fmla="*/ 108 w 136"/>
                <a:gd name="T65" fmla="*/ 30 h 116"/>
                <a:gd name="T66" fmla="*/ 102 w 136"/>
                <a:gd name="T67" fmla="*/ 18 h 116"/>
                <a:gd name="T68" fmla="*/ 96 w 136"/>
                <a:gd name="T69" fmla="*/ 22 h 116"/>
                <a:gd name="T70" fmla="*/ 82 w 136"/>
                <a:gd name="T71" fmla="*/ 18 h 116"/>
                <a:gd name="T72" fmla="*/ 74 w 136"/>
                <a:gd name="T73" fmla="*/ 4 h 116"/>
                <a:gd name="T74" fmla="*/ 58 w 136"/>
                <a:gd name="T75" fmla="*/ 6 h 116"/>
                <a:gd name="T76" fmla="*/ 44 w 136"/>
                <a:gd name="T77" fmla="*/ 8 h 116"/>
                <a:gd name="T78" fmla="*/ 36 w 136"/>
                <a:gd name="T79" fmla="*/ 0 h 116"/>
                <a:gd name="T80" fmla="*/ 30 w 136"/>
                <a:gd name="T81" fmla="*/ 4 h 116"/>
                <a:gd name="T82" fmla="*/ 20 w 136"/>
                <a:gd name="T83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" h="116">
                  <a:moveTo>
                    <a:pt x="20" y="4"/>
                  </a:moveTo>
                  <a:lnTo>
                    <a:pt x="12" y="8"/>
                  </a:lnTo>
                  <a:lnTo>
                    <a:pt x="14" y="14"/>
                  </a:lnTo>
                  <a:lnTo>
                    <a:pt x="8" y="22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32"/>
                  </a:lnTo>
                  <a:lnTo>
                    <a:pt x="24" y="40"/>
                  </a:lnTo>
                  <a:lnTo>
                    <a:pt x="28" y="58"/>
                  </a:lnTo>
                  <a:lnTo>
                    <a:pt x="36" y="80"/>
                  </a:lnTo>
                  <a:lnTo>
                    <a:pt x="44" y="92"/>
                  </a:lnTo>
                  <a:lnTo>
                    <a:pt x="52" y="84"/>
                  </a:lnTo>
                  <a:lnTo>
                    <a:pt x="66" y="100"/>
                  </a:lnTo>
                  <a:lnTo>
                    <a:pt x="78" y="116"/>
                  </a:lnTo>
                  <a:lnTo>
                    <a:pt x="82" y="104"/>
                  </a:lnTo>
                  <a:lnTo>
                    <a:pt x="80" y="96"/>
                  </a:lnTo>
                  <a:lnTo>
                    <a:pt x="84" y="92"/>
                  </a:lnTo>
                  <a:lnTo>
                    <a:pt x="104" y="106"/>
                  </a:lnTo>
                  <a:lnTo>
                    <a:pt x="110" y="102"/>
                  </a:lnTo>
                  <a:lnTo>
                    <a:pt x="110" y="98"/>
                  </a:lnTo>
                  <a:lnTo>
                    <a:pt x="102" y="78"/>
                  </a:lnTo>
                  <a:lnTo>
                    <a:pt x="102" y="76"/>
                  </a:lnTo>
                  <a:lnTo>
                    <a:pt x="92" y="60"/>
                  </a:lnTo>
                  <a:lnTo>
                    <a:pt x="88" y="50"/>
                  </a:lnTo>
                  <a:lnTo>
                    <a:pt x="92" y="48"/>
                  </a:lnTo>
                  <a:lnTo>
                    <a:pt x="104" y="50"/>
                  </a:lnTo>
                  <a:lnTo>
                    <a:pt x="116" y="62"/>
                  </a:lnTo>
                  <a:lnTo>
                    <a:pt x="122" y="54"/>
                  </a:lnTo>
                  <a:lnTo>
                    <a:pt x="134" y="56"/>
                  </a:lnTo>
                  <a:lnTo>
                    <a:pt x="136" y="52"/>
                  </a:lnTo>
                  <a:lnTo>
                    <a:pt x="122" y="36"/>
                  </a:lnTo>
                  <a:lnTo>
                    <a:pt x="11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22"/>
                  </a:lnTo>
                  <a:lnTo>
                    <a:pt x="82" y="18"/>
                  </a:lnTo>
                  <a:lnTo>
                    <a:pt x="74" y="4"/>
                  </a:lnTo>
                  <a:lnTo>
                    <a:pt x="58" y="6"/>
                  </a:lnTo>
                  <a:lnTo>
                    <a:pt x="44" y="8"/>
                  </a:lnTo>
                  <a:lnTo>
                    <a:pt x="36" y="0"/>
                  </a:lnTo>
                  <a:lnTo>
                    <a:pt x="30" y="4"/>
                  </a:lnTo>
                  <a:lnTo>
                    <a:pt x="20" y="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89" name="Freeform 83"/>
            <p:cNvSpPr>
              <a:spLocks/>
            </p:cNvSpPr>
            <p:nvPr/>
          </p:nvSpPr>
          <p:spPr bwMode="auto">
            <a:xfrm>
              <a:off x="2178508" y="2986617"/>
              <a:ext cx="93593" cy="84287"/>
            </a:xfrm>
            <a:custGeom>
              <a:avLst/>
              <a:gdLst>
                <a:gd name="T0" fmla="*/ 20 w 136"/>
                <a:gd name="T1" fmla="*/ 4 h 116"/>
                <a:gd name="T2" fmla="*/ 12 w 136"/>
                <a:gd name="T3" fmla="*/ 8 h 116"/>
                <a:gd name="T4" fmla="*/ 14 w 136"/>
                <a:gd name="T5" fmla="*/ 14 h 116"/>
                <a:gd name="T6" fmla="*/ 8 w 136"/>
                <a:gd name="T7" fmla="*/ 22 h 116"/>
                <a:gd name="T8" fmla="*/ 2 w 136"/>
                <a:gd name="T9" fmla="*/ 20 h 116"/>
                <a:gd name="T10" fmla="*/ 0 w 136"/>
                <a:gd name="T11" fmla="*/ 24 h 116"/>
                <a:gd name="T12" fmla="*/ 2 w 136"/>
                <a:gd name="T13" fmla="*/ 32 h 116"/>
                <a:gd name="T14" fmla="*/ 24 w 136"/>
                <a:gd name="T15" fmla="*/ 40 h 116"/>
                <a:gd name="T16" fmla="*/ 28 w 136"/>
                <a:gd name="T17" fmla="*/ 58 h 116"/>
                <a:gd name="T18" fmla="*/ 36 w 136"/>
                <a:gd name="T19" fmla="*/ 80 h 116"/>
                <a:gd name="T20" fmla="*/ 44 w 136"/>
                <a:gd name="T21" fmla="*/ 92 h 116"/>
                <a:gd name="T22" fmla="*/ 52 w 136"/>
                <a:gd name="T23" fmla="*/ 84 h 116"/>
                <a:gd name="T24" fmla="*/ 66 w 136"/>
                <a:gd name="T25" fmla="*/ 100 h 116"/>
                <a:gd name="T26" fmla="*/ 78 w 136"/>
                <a:gd name="T27" fmla="*/ 116 h 116"/>
                <a:gd name="T28" fmla="*/ 82 w 136"/>
                <a:gd name="T29" fmla="*/ 104 h 116"/>
                <a:gd name="T30" fmla="*/ 80 w 136"/>
                <a:gd name="T31" fmla="*/ 96 h 116"/>
                <a:gd name="T32" fmla="*/ 84 w 136"/>
                <a:gd name="T33" fmla="*/ 92 h 116"/>
                <a:gd name="T34" fmla="*/ 104 w 136"/>
                <a:gd name="T35" fmla="*/ 106 h 116"/>
                <a:gd name="T36" fmla="*/ 110 w 136"/>
                <a:gd name="T37" fmla="*/ 102 h 116"/>
                <a:gd name="T38" fmla="*/ 110 w 136"/>
                <a:gd name="T39" fmla="*/ 98 h 116"/>
                <a:gd name="T40" fmla="*/ 102 w 136"/>
                <a:gd name="T41" fmla="*/ 78 h 116"/>
                <a:gd name="T42" fmla="*/ 102 w 136"/>
                <a:gd name="T43" fmla="*/ 76 h 116"/>
                <a:gd name="T44" fmla="*/ 92 w 136"/>
                <a:gd name="T45" fmla="*/ 60 h 116"/>
                <a:gd name="T46" fmla="*/ 88 w 136"/>
                <a:gd name="T47" fmla="*/ 50 h 116"/>
                <a:gd name="T48" fmla="*/ 92 w 136"/>
                <a:gd name="T49" fmla="*/ 48 h 116"/>
                <a:gd name="T50" fmla="*/ 104 w 136"/>
                <a:gd name="T51" fmla="*/ 50 h 116"/>
                <a:gd name="T52" fmla="*/ 116 w 136"/>
                <a:gd name="T53" fmla="*/ 62 h 116"/>
                <a:gd name="T54" fmla="*/ 122 w 136"/>
                <a:gd name="T55" fmla="*/ 54 h 116"/>
                <a:gd name="T56" fmla="*/ 134 w 136"/>
                <a:gd name="T57" fmla="*/ 56 h 116"/>
                <a:gd name="T58" fmla="*/ 136 w 136"/>
                <a:gd name="T59" fmla="*/ 52 h 116"/>
                <a:gd name="T60" fmla="*/ 122 w 136"/>
                <a:gd name="T61" fmla="*/ 36 h 116"/>
                <a:gd name="T62" fmla="*/ 110 w 136"/>
                <a:gd name="T63" fmla="*/ 36 h 116"/>
                <a:gd name="T64" fmla="*/ 108 w 136"/>
                <a:gd name="T65" fmla="*/ 30 h 116"/>
                <a:gd name="T66" fmla="*/ 102 w 136"/>
                <a:gd name="T67" fmla="*/ 18 h 116"/>
                <a:gd name="T68" fmla="*/ 96 w 136"/>
                <a:gd name="T69" fmla="*/ 22 h 116"/>
                <a:gd name="T70" fmla="*/ 82 w 136"/>
                <a:gd name="T71" fmla="*/ 18 h 116"/>
                <a:gd name="T72" fmla="*/ 74 w 136"/>
                <a:gd name="T73" fmla="*/ 4 h 116"/>
                <a:gd name="T74" fmla="*/ 58 w 136"/>
                <a:gd name="T75" fmla="*/ 6 h 116"/>
                <a:gd name="T76" fmla="*/ 44 w 136"/>
                <a:gd name="T77" fmla="*/ 8 h 116"/>
                <a:gd name="T78" fmla="*/ 36 w 136"/>
                <a:gd name="T79" fmla="*/ 0 h 116"/>
                <a:gd name="T80" fmla="*/ 30 w 136"/>
                <a:gd name="T81" fmla="*/ 4 h 116"/>
                <a:gd name="T82" fmla="*/ 20 w 136"/>
                <a:gd name="T83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" h="116">
                  <a:moveTo>
                    <a:pt x="20" y="4"/>
                  </a:moveTo>
                  <a:lnTo>
                    <a:pt x="12" y="8"/>
                  </a:lnTo>
                  <a:lnTo>
                    <a:pt x="14" y="14"/>
                  </a:lnTo>
                  <a:lnTo>
                    <a:pt x="8" y="22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32"/>
                  </a:lnTo>
                  <a:lnTo>
                    <a:pt x="24" y="40"/>
                  </a:lnTo>
                  <a:lnTo>
                    <a:pt x="28" y="58"/>
                  </a:lnTo>
                  <a:lnTo>
                    <a:pt x="36" y="80"/>
                  </a:lnTo>
                  <a:lnTo>
                    <a:pt x="44" y="92"/>
                  </a:lnTo>
                  <a:lnTo>
                    <a:pt x="52" y="84"/>
                  </a:lnTo>
                  <a:lnTo>
                    <a:pt x="66" y="100"/>
                  </a:lnTo>
                  <a:lnTo>
                    <a:pt x="78" y="116"/>
                  </a:lnTo>
                  <a:lnTo>
                    <a:pt x="82" y="104"/>
                  </a:lnTo>
                  <a:lnTo>
                    <a:pt x="80" y="96"/>
                  </a:lnTo>
                  <a:lnTo>
                    <a:pt x="84" y="92"/>
                  </a:lnTo>
                  <a:lnTo>
                    <a:pt x="104" y="106"/>
                  </a:lnTo>
                  <a:lnTo>
                    <a:pt x="110" y="102"/>
                  </a:lnTo>
                  <a:lnTo>
                    <a:pt x="110" y="98"/>
                  </a:lnTo>
                  <a:lnTo>
                    <a:pt x="102" y="78"/>
                  </a:lnTo>
                  <a:lnTo>
                    <a:pt x="102" y="76"/>
                  </a:lnTo>
                  <a:lnTo>
                    <a:pt x="92" y="60"/>
                  </a:lnTo>
                  <a:lnTo>
                    <a:pt x="88" y="50"/>
                  </a:lnTo>
                  <a:lnTo>
                    <a:pt x="92" y="48"/>
                  </a:lnTo>
                  <a:lnTo>
                    <a:pt x="104" y="50"/>
                  </a:lnTo>
                  <a:lnTo>
                    <a:pt x="116" y="62"/>
                  </a:lnTo>
                  <a:lnTo>
                    <a:pt x="122" y="54"/>
                  </a:lnTo>
                  <a:lnTo>
                    <a:pt x="134" y="56"/>
                  </a:lnTo>
                  <a:lnTo>
                    <a:pt x="136" y="52"/>
                  </a:lnTo>
                  <a:lnTo>
                    <a:pt x="122" y="36"/>
                  </a:lnTo>
                  <a:lnTo>
                    <a:pt x="11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22"/>
                  </a:lnTo>
                  <a:lnTo>
                    <a:pt x="82" y="18"/>
                  </a:lnTo>
                  <a:lnTo>
                    <a:pt x="74" y="4"/>
                  </a:lnTo>
                  <a:lnTo>
                    <a:pt x="58" y="6"/>
                  </a:lnTo>
                  <a:lnTo>
                    <a:pt x="44" y="8"/>
                  </a:lnTo>
                  <a:lnTo>
                    <a:pt x="36" y="0"/>
                  </a:lnTo>
                  <a:lnTo>
                    <a:pt x="30" y="4"/>
                  </a:lnTo>
                  <a:lnTo>
                    <a:pt x="20" y="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90" name="Freeform 84"/>
            <p:cNvSpPr>
              <a:spLocks/>
            </p:cNvSpPr>
            <p:nvPr/>
          </p:nvSpPr>
          <p:spPr bwMode="auto">
            <a:xfrm>
              <a:off x="2146852" y="2813684"/>
              <a:ext cx="218843" cy="201998"/>
            </a:xfrm>
            <a:custGeom>
              <a:avLst/>
              <a:gdLst>
                <a:gd name="T0" fmla="*/ 58 w 318"/>
                <a:gd name="T1" fmla="*/ 72 h 278"/>
                <a:gd name="T2" fmla="*/ 40 w 318"/>
                <a:gd name="T3" fmla="*/ 120 h 278"/>
                <a:gd name="T4" fmla="*/ 32 w 318"/>
                <a:gd name="T5" fmla="*/ 130 h 278"/>
                <a:gd name="T6" fmla="*/ 18 w 318"/>
                <a:gd name="T7" fmla="*/ 144 h 278"/>
                <a:gd name="T8" fmla="*/ 0 w 318"/>
                <a:gd name="T9" fmla="*/ 146 h 278"/>
                <a:gd name="T10" fmla="*/ 22 w 318"/>
                <a:gd name="T11" fmla="*/ 186 h 278"/>
                <a:gd name="T12" fmla="*/ 42 w 318"/>
                <a:gd name="T13" fmla="*/ 186 h 278"/>
                <a:gd name="T14" fmla="*/ 36 w 318"/>
                <a:gd name="T15" fmla="*/ 200 h 278"/>
                <a:gd name="T16" fmla="*/ 42 w 318"/>
                <a:gd name="T17" fmla="*/ 222 h 278"/>
                <a:gd name="T18" fmla="*/ 56 w 318"/>
                <a:gd name="T19" fmla="*/ 236 h 278"/>
                <a:gd name="T20" fmla="*/ 68 w 318"/>
                <a:gd name="T21" fmla="*/ 228 h 278"/>
                <a:gd name="T22" fmla="*/ 78 w 318"/>
                <a:gd name="T23" fmla="*/ 230 h 278"/>
                <a:gd name="T24" fmla="*/ 118 w 318"/>
                <a:gd name="T25" fmla="*/ 234 h 278"/>
                <a:gd name="T26" fmla="*/ 140 w 318"/>
                <a:gd name="T27" fmla="*/ 244 h 278"/>
                <a:gd name="T28" fmla="*/ 152 w 318"/>
                <a:gd name="T29" fmla="*/ 260 h 278"/>
                <a:gd name="T30" fmla="*/ 168 w 318"/>
                <a:gd name="T31" fmla="*/ 254 h 278"/>
                <a:gd name="T32" fmla="*/ 200 w 318"/>
                <a:gd name="T33" fmla="*/ 278 h 278"/>
                <a:gd name="T34" fmla="*/ 204 w 318"/>
                <a:gd name="T35" fmla="*/ 264 h 278"/>
                <a:gd name="T36" fmla="*/ 204 w 318"/>
                <a:gd name="T37" fmla="*/ 242 h 278"/>
                <a:gd name="T38" fmla="*/ 190 w 318"/>
                <a:gd name="T39" fmla="*/ 232 h 278"/>
                <a:gd name="T40" fmla="*/ 158 w 318"/>
                <a:gd name="T41" fmla="*/ 212 h 278"/>
                <a:gd name="T42" fmla="*/ 140 w 318"/>
                <a:gd name="T43" fmla="*/ 206 h 278"/>
                <a:gd name="T44" fmla="*/ 132 w 318"/>
                <a:gd name="T45" fmla="*/ 196 h 278"/>
                <a:gd name="T46" fmla="*/ 144 w 318"/>
                <a:gd name="T47" fmla="*/ 186 h 278"/>
                <a:gd name="T48" fmla="*/ 134 w 318"/>
                <a:gd name="T49" fmla="*/ 170 h 278"/>
                <a:gd name="T50" fmla="*/ 148 w 318"/>
                <a:gd name="T51" fmla="*/ 176 h 278"/>
                <a:gd name="T52" fmla="*/ 158 w 318"/>
                <a:gd name="T53" fmla="*/ 170 h 278"/>
                <a:gd name="T54" fmla="*/ 140 w 318"/>
                <a:gd name="T55" fmla="*/ 144 h 278"/>
                <a:gd name="T56" fmla="*/ 126 w 318"/>
                <a:gd name="T57" fmla="*/ 114 h 278"/>
                <a:gd name="T58" fmla="*/ 122 w 318"/>
                <a:gd name="T59" fmla="*/ 96 h 278"/>
                <a:gd name="T60" fmla="*/ 130 w 318"/>
                <a:gd name="T61" fmla="*/ 84 h 278"/>
                <a:gd name="T62" fmla="*/ 136 w 318"/>
                <a:gd name="T63" fmla="*/ 100 h 278"/>
                <a:gd name="T64" fmla="*/ 140 w 318"/>
                <a:gd name="T65" fmla="*/ 106 h 278"/>
                <a:gd name="T66" fmla="*/ 168 w 318"/>
                <a:gd name="T67" fmla="*/ 126 h 278"/>
                <a:gd name="T68" fmla="*/ 170 w 318"/>
                <a:gd name="T69" fmla="*/ 112 h 278"/>
                <a:gd name="T70" fmla="*/ 190 w 318"/>
                <a:gd name="T71" fmla="*/ 126 h 278"/>
                <a:gd name="T72" fmla="*/ 182 w 318"/>
                <a:gd name="T73" fmla="*/ 108 h 278"/>
                <a:gd name="T74" fmla="*/ 190 w 318"/>
                <a:gd name="T75" fmla="*/ 100 h 278"/>
                <a:gd name="T76" fmla="*/ 212 w 318"/>
                <a:gd name="T77" fmla="*/ 106 h 278"/>
                <a:gd name="T78" fmla="*/ 202 w 318"/>
                <a:gd name="T79" fmla="*/ 92 h 278"/>
                <a:gd name="T80" fmla="*/ 182 w 318"/>
                <a:gd name="T81" fmla="*/ 80 h 278"/>
                <a:gd name="T82" fmla="*/ 182 w 318"/>
                <a:gd name="T83" fmla="*/ 70 h 278"/>
                <a:gd name="T84" fmla="*/ 220 w 318"/>
                <a:gd name="T85" fmla="*/ 62 h 278"/>
                <a:gd name="T86" fmla="*/ 258 w 318"/>
                <a:gd name="T87" fmla="*/ 58 h 278"/>
                <a:gd name="T88" fmla="*/ 278 w 318"/>
                <a:gd name="T89" fmla="*/ 62 h 278"/>
                <a:gd name="T90" fmla="*/ 300 w 318"/>
                <a:gd name="T91" fmla="*/ 54 h 278"/>
                <a:gd name="T92" fmla="*/ 316 w 318"/>
                <a:gd name="T93" fmla="*/ 34 h 278"/>
                <a:gd name="T94" fmla="*/ 316 w 318"/>
                <a:gd name="T95" fmla="*/ 4 h 278"/>
                <a:gd name="T96" fmla="*/ 300 w 318"/>
                <a:gd name="T97" fmla="*/ 0 h 278"/>
                <a:gd name="T98" fmla="*/ 296 w 318"/>
                <a:gd name="T99" fmla="*/ 14 h 278"/>
                <a:gd name="T100" fmla="*/ 286 w 318"/>
                <a:gd name="T101" fmla="*/ 24 h 278"/>
                <a:gd name="T102" fmla="*/ 274 w 318"/>
                <a:gd name="T103" fmla="*/ 32 h 278"/>
                <a:gd name="T104" fmla="*/ 250 w 318"/>
                <a:gd name="T105" fmla="*/ 24 h 278"/>
                <a:gd name="T106" fmla="*/ 226 w 318"/>
                <a:gd name="T107" fmla="*/ 14 h 278"/>
                <a:gd name="T108" fmla="*/ 200 w 318"/>
                <a:gd name="T109" fmla="*/ 32 h 278"/>
                <a:gd name="T110" fmla="*/ 170 w 318"/>
                <a:gd name="T111" fmla="*/ 40 h 278"/>
                <a:gd name="T112" fmla="*/ 148 w 318"/>
                <a:gd name="T113" fmla="*/ 44 h 278"/>
                <a:gd name="T114" fmla="*/ 134 w 318"/>
                <a:gd name="T115" fmla="*/ 56 h 278"/>
                <a:gd name="T116" fmla="*/ 112 w 318"/>
                <a:gd name="T117" fmla="*/ 58 h 278"/>
                <a:gd name="T118" fmla="*/ 92 w 318"/>
                <a:gd name="T119" fmla="*/ 70 h 278"/>
                <a:gd name="T120" fmla="*/ 72 w 318"/>
                <a:gd name="T121" fmla="*/ 7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8" h="278">
                  <a:moveTo>
                    <a:pt x="64" y="68"/>
                  </a:moveTo>
                  <a:lnTo>
                    <a:pt x="58" y="72"/>
                  </a:lnTo>
                  <a:lnTo>
                    <a:pt x="50" y="96"/>
                  </a:lnTo>
                  <a:lnTo>
                    <a:pt x="40" y="120"/>
                  </a:lnTo>
                  <a:lnTo>
                    <a:pt x="36" y="122"/>
                  </a:lnTo>
                  <a:lnTo>
                    <a:pt x="32" y="130"/>
                  </a:lnTo>
                  <a:lnTo>
                    <a:pt x="28" y="138"/>
                  </a:lnTo>
                  <a:lnTo>
                    <a:pt x="18" y="144"/>
                  </a:lnTo>
                  <a:lnTo>
                    <a:pt x="10" y="146"/>
                  </a:lnTo>
                  <a:lnTo>
                    <a:pt x="0" y="146"/>
                  </a:lnTo>
                  <a:lnTo>
                    <a:pt x="12" y="172"/>
                  </a:lnTo>
                  <a:lnTo>
                    <a:pt x="22" y="186"/>
                  </a:lnTo>
                  <a:lnTo>
                    <a:pt x="32" y="186"/>
                  </a:lnTo>
                  <a:lnTo>
                    <a:pt x="42" y="186"/>
                  </a:lnTo>
                  <a:lnTo>
                    <a:pt x="44" y="194"/>
                  </a:lnTo>
                  <a:lnTo>
                    <a:pt x="36" y="200"/>
                  </a:lnTo>
                  <a:lnTo>
                    <a:pt x="36" y="208"/>
                  </a:lnTo>
                  <a:lnTo>
                    <a:pt x="42" y="222"/>
                  </a:lnTo>
                  <a:lnTo>
                    <a:pt x="50" y="232"/>
                  </a:lnTo>
                  <a:lnTo>
                    <a:pt x="56" y="236"/>
                  </a:lnTo>
                  <a:lnTo>
                    <a:pt x="58" y="230"/>
                  </a:lnTo>
                  <a:lnTo>
                    <a:pt x="68" y="228"/>
                  </a:lnTo>
                  <a:lnTo>
                    <a:pt x="76" y="236"/>
                  </a:lnTo>
                  <a:lnTo>
                    <a:pt x="78" y="230"/>
                  </a:lnTo>
                  <a:lnTo>
                    <a:pt x="94" y="230"/>
                  </a:lnTo>
                  <a:lnTo>
                    <a:pt x="118" y="234"/>
                  </a:lnTo>
                  <a:lnTo>
                    <a:pt x="134" y="238"/>
                  </a:lnTo>
                  <a:lnTo>
                    <a:pt x="140" y="244"/>
                  </a:lnTo>
                  <a:lnTo>
                    <a:pt x="148" y="254"/>
                  </a:lnTo>
                  <a:lnTo>
                    <a:pt x="152" y="260"/>
                  </a:lnTo>
                  <a:lnTo>
                    <a:pt x="160" y="254"/>
                  </a:lnTo>
                  <a:lnTo>
                    <a:pt x="168" y="254"/>
                  </a:lnTo>
                  <a:lnTo>
                    <a:pt x="182" y="262"/>
                  </a:lnTo>
                  <a:lnTo>
                    <a:pt x="200" y="278"/>
                  </a:lnTo>
                  <a:lnTo>
                    <a:pt x="204" y="274"/>
                  </a:lnTo>
                  <a:lnTo>
                    <a:pt x="204" y="264"/>
                  </a:lnTo>
                  <a:lnTo>
                    <a:pt x="204" y="252"/>
                  </a:lnTo>
                  <a:lnTo>
                    <a:pt x="204" y="242"/>
                  </a:lnTo>
                  <a:lnTo>
                    <a:pt x="196" y="230"/>
                  </a:lnTo>
                  <a:lnTo>
                    <a:pt x="190" y="232"/>
                  </a:lnTo>
                  <a:lnTo>
                    <a:pt x="178" y="226"/>
                  </a:lnTo>
                  <a:lnTo>
                    <a:pt x="158" y="212"/>
                  </a:lnTo>
                  <a:lnTo>
                    <a:pt x="152" y="206"/>
                  </a:lnTo>
                  <a:lnTo>
                    <a:pt x="140" y="206"/>
                  </a:lnTo>
                  <a:lnTo>
                    <a:pt x="132" y="200"/>
                  </a:lnTo>
                  <a:lnTo>
                    <a:pt x="132" y="196"/>
                  </a:lnTo>
                  <a:lnTo>
                    <a:pt x="140" y="188"/>
                  </a:lnTo>
                  <a:lnTo>
                    <a:pt x="144" y="186"/>
                  </a:lnTo>
                  <a:lnTo>
                    <a:pt x="138" y="178"/>
                  </a:lnTo>
                  <a:lnTo>
                    <a:pt x="134" y="170"/>
                  </a:lnTo>
                  <a:lnTo>
                    <a:pt x="138" y="164"/>
                  </a:lnTo>
                  <a:lnTo>
                    <a:pt x="148" y="176"/>
                  </a:lnTo>
                  <a:lnTo>
                    <a:pt x="158" y="180"/>
                  </a:lnTo>
                  <a:lnTo>
                    <a:pt x="158" y="170"/>
                  </a:lnTo>
                  <a:lnTo>
                    <a:pt x="152" y="160"/>
                  </a:lnTo>
                  <a:lnTo>
                    <a:pt x="140" y="144"/>
                  </a:lnTo>
                  <a:lnTo>
                    <a:pt x="126" y="124"/>
                  </a:lnTo>
                  <a:lnTo>
                    <a:pt x="126" y="114"/>
                  </a:lnTo>
                  <a:lnTo>
                    <a:pt x="124" y="106"/>
                  </a:lnTo>
                  <a:lnTo>
                    <a:pt x="122" y="96"/>
                  </a:lnTo>
                  <a:lnTo>
                    <a:pt x="120" y="86"/>
                  </a:lnTo>
                  <a:lnTo>
                    <a:pt x="130" y="84"/>
                  </a:lnTo>
                  <a:lnTo>
                    <a:pt x="128" y="90"/>
                  </a:lnTo>
                  <a:lnTo>
                    <a:pt x="136" y="100"/>
                  </a:lnTo>
                  <a:lnTo>
                    <a:pt x="142" y="100"/>
                  </a:lnTo>
                  <a:lnTo>
                    <a:pt x="140" y="106"/>
                  </a:lnTo>
                  <a:lnTo>
                    <a:pt x="166" y="130"/>
                  </a:lnTo>
                  <a:lnTo>
                    <a:pt x="168" y="126"/>
                  </a:lnTo>
                  <a:lnTo>
                    <a:pt x="162" y="114"/>
                  </a:lnTo>
                  <a:lnTo>
                    <a:pt x="170" y="112"/>
                  </a:lnTo>
                  <a:lnTo>
                    <a:pt x="182" y="116"/>
                  </a:lnTo>
                  <a:lnTo>
                    <a:pt x="190" y="126"/>
                  </a:lnTo>
                  <a:lnTo>
                    <a:pt x="190" y="120"/>
                  </a:lnTo>
                  <a:lnTo>
                    <a:pt x="182" y="108"/>
                  </a:lnTo>
                  <a:lnTo>
                    <a:pt x="182" y="104"/>
                  </a:lnTo>
                  <a:lnTo>
                    <a:pt x="190" y="100"/>
                  </a:lnTo>
                  <a:lnTo>
                    <a:pt x="208" y="108"/>
                  </a:lnTo>
                  <a:lnTo>
                    <a:pt x="212" y="106"/>
                  </a:lnTo>
                  <a:lnTo>
                    <a:pt x="210" y="98"/>
                  </a:lnTo>
                  <a:lnTo>
                    <a:pt x="202" y="92"/>
                  </a:lnTo>
                  <a:lnTo>
                    <a:pt x="190" y="88"/>
                  </a:lnTo>
                  <a:lnTo>
                    <a:pt x="182" y="80"/>
                  </a:lnTo>
                  <a:lnTo>
                    <a:pt x="180" y="76"/>
                  </a:lnTo>
                  <a:lnTo>
                    <a:pt x="182" y="70"/>
                  </a:lnTo>
                  <a:lnTo>
                    <a:pt x="202" y="68"/>
                  </a:lnTo>
                  <a:lnTo>
                    <a:pt x="220" y="62"/>
                  </a:lnTo>
                  <a:lnTo>
                    <a:pt x="234" y="64"/>
                  </a:lnTo>
                  <a:lnTo>
                    <a:pt x="258" y="58"/>
                  </a:lnTo>
                  <a:lnTo>
                    <a:pt x="262" y="56"/>
                  </a:lnTo>
                  <a:lnTo>
                    <a:pt x="278" y="62"/>
                  </a:lnTo>
                  <a:lnTo>
                    <a:pt x="292" y="70"/>
                  </a:lnTo>
                  <a:lnTo>
                    <a:pt x="300" y="54"/>
                  </a:lnTo>
                  <a:lnTo>
                    <a:pt x="312" y="38"/>
                  </a:lnTo>
                  <a:lnTo>
                    <a:pt x="316" y="34"/>
                  </a:lnTo>
                  <a:lnTo>
                    <a:pt x="318" y="6"/>
                  </a:lnTo>
                  <a:lnTo>
                    <a:pt x="316" y="4"/>
                  </a:lnTo>
                  <a:lnTo>
                    <a:pt x="308" y="0"/>
                  </a:lnTo>
                  <a:lnTo>
                    <a:pt x="300" y="0"/>
                  </a:lnTo>
                  <a:lnTo>
                    <a:pt x="296" y="4"/>
                  </a:lnTo>
                  <a:lnTo>
                    <a:pt x="296" y="14"/>
                  </a:lnTo>
                  <a:lnTo>
                    <a:pt x="298" y="22"/>
                  </a:lnTo>
                  <a:lnTo>
                    <a:pt x="286" y="24"/>
                  </a:lnTo>
                  <a:lnTo>
                    <a:pt x="278" y="30"/>
                  </a:lnTo>
                  <a:lnTo>
                    <a:pt x="274" y="32"/>
                  </a:lnTo>
                  <a:lnTo>
                    <a:pt x="256" y="28"/>
                  </a:lnTo>
                  <a:lnTo>
                    <a:pt x="250" y="24"/>
                  </a:lnTo>
                  <a:lnTo>
                    <a:pt x="240" y="28"/>
                  </a:lnTo>
                  <a:lnTo>
                    <a:pt x="226" y="14"/>
                  </a:lnTo>
                  <a:lnTo>
                    <a:pt x="210" y="24"/>
                  </a:lnTo>
                  <a:lnTo>
                    <a:pt x="200" y="32"/>
                  </a:lnTo>
                  <a:lnTo>
                    <a:pt x="188" y="36"/>
                  </a:lnTo>
                  <a:lnTo>
                    <a:pt x="170" y="40"/>
                  </a:lnTo>
                  <a:lnTo>
                    <a:pt x="158" y="44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34" y="56"/>
                  </a:lnTo>
                  <a:lnTo>
                    <a:pt x="126" y="56"/>
                  </a:lnTo>
                  <a:lnTo>
                    <a:pt x="112" y="58"/>
                  </a:lnTo>
                  <a:lnTo>
                    <a:pt x="100" y="56"/>
                  </a:lnTo>
                  <a:lnTo>
                    <a:pt x="92" y="70"/>
                  </a:lnTo>
                  <a:lnTo>
                    <a:pt x="82" y="70"/>
                  </a:lnTo>
                  <a:lnTo>
                    <a:pt x="72" y="70"/>
                  </a:lnTo>
                  <a:lnTo>
                    <a:pt x="64" y="6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91" name="Freeform 85"/>
            <p:cNvSpPr>
              <a:spLocks/>
            </p:cNvSpPr>
            <p:nvPr/>
          </p:nvSpPr>
          <p:spPr bwMode="auto">
            <a:xfrm>
              <a:off x="2146852" y="2813684"/>
              <a:ext cx="218843" cy="201998"/>
            </a:xfrm>
            <a:custGeom>
              <a:avLst/>
              <a:gdLst>
                <a:gd name="T0" fmla="*/ 58 w 318"/>
                <a:gd name="T1" fmla="*/ 72 h 278"/>
                <a:gd name="T2" fmla="*/ 40 w 318"/>
                <a:gd name="T3" fmla="*/ 120 h 278"/>
                <a:gd name="T4" fmla="*/ 32 w 318"/>
                <a:gd name="T5" fmla="*/ 130 h 278"/>
                <a:gd name="T6" fmla="*/ 18 w 318"/>
                <a:gd name="T7" fmla="*/ 144 h 278"/>
                <a:gd name="T8" fmla="*/ 0 w 318"/>
                <a:gd name="T9" fmla="*/ 146 h 278"/>
                <a:gd name="T10" fmla="*/ 22 w 318"/>
                <a:gd name="T11" fmla="*/ 186 h 278"/>
                <a:gd name="T12" fmla="*/ 42 w 318"/>
                <a:gd name="T13" fmla="*/ 186 h 278"/>
                <a:gd name="T14" fmla="*/ 36 w 318"/>
                <a:gd name="T15" fmla="*/ 200 h 278"/>
                <a:gd name="T16" fmla="*/ 42 w 318"/>
                <a:gd name="T17" fmla="*/ 222 h 278"/>
                <a:gd name="T18" fmla="*/ 56 w 318"/>
                <a:gd name="T19" fmla="*/ 236 h 278"/>
                <a:gd name="T20" fmla="*/ 68 w 318"/>
                <a:gd name="T21" fmla="*/ 228 h 278"/>
                <a:gd name="T22" fmla="*/ 78 w 318"/>
                <a:gd name="T23" fmla="*/ 230 h 278"/>
                <a:gd name="T24" fmla="*/ 118 w 318"/>
                <a:gd name="T25" fmla="*/ 234 h 278"/>
                <a:gd name="T26" fmla="*/ 140 w 318"/>
                <a:gd name="T27" fmla="*/ 244 h 278"/>
                <a:gd name="T28" fmla="*/ 152 w 318"/>
                <a:gd name="T29" fmla="*/ 260 h 278"/>
                <a:gd name="T30" fmla="*/ 168 w 318"/>
                <a:gd name="T31" fmla="*/ 254 h 278"/>
                <a:gd name="T32" fmla="*/ 200 w 318"/>
                <a:gd name="T33" fmla="*/ 278 h 278"/>
                <a:gd name="T34" fmla="*/ 204 w 318"/>
                <a:gd name="T35" fmla="*/ 264 h 278"/>
                <a:gd name="T36" fmla="*/ 204 w 318"/>
                <a:gd name="T37" fmla="*/ 242 h 278"/>
                <a:gd name="T38" fmla="*/ 190 w 318"/>
                <a:gd name="T39" fmla="*/ 232 h 278"/>
                <a:gd name="T40" fmla="*/ 158 w 318"/>
                <a:gd name="T41" fmla="*/ 212 h 278"/>
                <a:gd name="T42" fmla="*/ 140 w 318"/>
                <a:gd name="T43" fmla="*/ 206 h 278"/>
                <a:gd name="T44" fmla="*/ 132 w 318"/>
                <a:gd name="T45" fmla="*/ 196 h 278"/>
                <a:gd name="T46" fmla="*/ 144 w 318"/>
                <a:gd name="T47" fmla="*/ 186 h 278"/>
                <a:gd name="T48" fmla="*/ 134 w 318"/>
                <a:gd name="T49" fmla="*/ 170 h 278"/>
                <a:gd name="T50" fmla="*/ 148 w 318"/>
                <a:gd name="T51" fmla="*/ 176 h 278"/>
                <a:gd name="T52" fmla="*/ 158 w 318"/>
                <a:gd name="T53" fmla="*/ 170 h 278"/>
                <a:gd name="T54" fmla="*/ 140 w 318"/>
                <a:gd name="T55" fmla="*/ 144 h 278"/>
                <a:gd name="T56" fmla="*/ 126 w 318"/>
                <a:gd name="T57" fmla="*/ 114 h 278"/>
                <a:gd name="T58" fmla="*/ 122 w 318"/>
                <a:gd name="T59" fmla="*/ 96 h 278"/>
                <a:gd name="T60" fmla="*/ 130 w 318"/>
                <a:gd name="T61" fmla="*/ 84 h 278"/>
                <a:gd name="T62" fmla="*/ 136 w 318"/>
                <a:gd name="T63" fmla="*/ 100 h 278"/>
                <a:gd name="T64" fmla="*/ 140 w 318"/>
                <a:gd name="T65" fmla="*/ 106 h 278"/>
                <a:gd name="T66" fmla="*/ 168 w 318"/>
                <a:gd name="T67" fmla="*/ 126 h 278"/>
                <a:gd name="T68" fmla="*/ 170 w 318"/>
                <a:gd name="T69" fmla="*/ 112 h 278"/>
                <a:gd name="T70" fmla="*/ 190 w 318"/>
                <a:gd name="T71" fmla="*/ 126 h 278"/>
                <a:gd name="T72" fmla="*/ 182 w 318"/>
                <a:gd name="T73" fmla="*/ 108 h 278"/>
                <a:gd name="T74" fmla="*/ 190 w 318"/>
                <a:gd name="T75" fmla="*/ 100 h 278"/>
                <a:gd name="T76" fmla="*/ 212 w 318"/>
                <a:gd name="T77" fmla="*/ 106 h 278"/>
                <a:gd name="T78" fmla="*/ 202 w 318"/>
                <a:gd name="T79" fmla="*/ 92 h 278"/>
                <a:gd name="T80" fmla="*/ 182 w 318"/>
                <a:gd name="T81" fmla="*/ 80 h 278"/>
                <a:gd name="T82" fmla="*/ 182 w 318"/>
                <a:gd name="T83" fmla="*/ 70 h 278"/>
                <a:gd name="T84" fmla="*/ 220 w 318"/>
                <a:gd name="T85" fmla="*/ 62 h 278"/>
                <a:gd name="T86" fmla="*/ 258 w 318"/>
                <a:gd name="T87" fmla="*/ 58 h 278"/>
                <a:gd name="T88" fmla="*/ 278 w 318"/>
                <a:gd name="T89" fmla="*/ 62 h 278"/>
                <a:gd name="T90" fmla="*/ 300 w 318"/>
                <a:gd name="T91" fmla="*/ 54 h 278"/>
                <a:gd name="T92" fmla="*/ 316 w 318"/>
                <a:gd name="T93" fmla="*/ 34 h 278"/>
                <a:gd name="T94" fmla="*/ 316 w 318"/>
                <a:gd name="T95" fmla="*/ 4 h 278"/>
                <a:gd name="T96" fmla="*/ 300 w 318"/>
                <a:gd name="T97" fmla="*/ 0 h 278"/>
                <a:gd name="T98" fmla="*/ 296 w 318"/>
                <a:gd name="T99" fmla="*/ 14 h 278"/>
                <a:gd name="T100" fmla="*/ 286 w 318"/>
                <a:gd name="T101" fmla="*/ 24 h 278"/>
                <a:gd name="T102" fmla="*/ 274 w 318"/>
                <a:gd name="T103" fmla="*/ 32 h 278"/>
                <a:gd name="T104" fmla="*/ 250 w 318"/>
                <a:gd name="T105" fmla="*/ 24 h 278"/>
                <a:gd name="T106" fmla="*/ 226 w 318"/>
                <a:gd name="T107" fmla="*/ 14 h 278"/>
                <a:gd name="T108" fmla="*/ 200 w 318"/>
                <a:gd name="T109" fmla="*/ 32 h 278"/>
                <a:gd name="T110" fmla="*/ 170 w 318"/>
                <a:gd name="T111" fmla="*/ 40 h 278"/>
                <a:gd name="T112" fmla="*/ 148 w 318"/>
                <a:gd name="T113" fmla="*/ 44 h 278"/>
                <a:gd name="T114" fmla="*/ 134 w 318"/>
                <a:gd name="T115" fmla="*/ 56 h 278"/>
                <a:gd name="T116" fmla="*/ 112 w 318"/>
                <a:gd name="T117" fmla="*/ 58 h 278"/>
                <a:gd name="T118" fmla="*/ 92 w 318"/>
                <a:gd name="T119" fmla="*/ 70 h 278"/>
                <a:gd name="T120" fmla="*/ 72 w 318"/>
                <a:gd name="T121" fmla="*/ 7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8" h="278">
                  <a:moveTo>
                    <a:pt x="64" y="68"/>
                  </a:moveTo>
                  <a:lnTo>
                    <a:pt x="58" y="72"/>
                  </a:lnTo>
                  <a:lnTo>
                    <a:pt x="50" y="96"/>
                  </a:lnTo>
                  <a:lnTo>
                    <a:pt x="40" y="120"/>
                  </a:lnTo>
                  <a:lnTo>
                    <a:pt x="36" y="122"/>
                  </a:lnTo>
                  <a:lnTo>
                    <a:pt x="32" y="130"/>
                  </a:lnTo>
                  <a:lnTo>
                    <a:pt x="28" y="138"/>
                  </a:lnTo>
                  <a:lnTo>
                    <a:pt x="18" y="144"/>
                  </a:lnTo>
                  <a:lnTo>
                    <a:pt x="10" y="146"/>
                  </a:lnTo>
                  <a:lnTo>
                    <a:pt x="0" y="146"/>
                  </a:lnTo>
                  <a:lnTo>
                    <a:pt x="12" y="172"/>
                  </a:lnTo>
                  <a:lnTo>
                    <a:pt x="22" y="186"/>
                  </a:lnTo>
                  <a:lnTo>
                    <a:pt x="32" y="186"/>
                  </a:lnTo>
                  <a:lnTo>
                    <a:pt x="42" y="186"/>
                  </a:lnTo>
                  <a:lnTo>
                    <a:pt x="44" y="194"/>
                  </a:lnTo>
                  <a:lnTo>
                    <a:pt x="36" y="200"/>
                  </a:lnTo>
                  <a:lnTo>
                    <a:pt x="36" y="208"/>
                  </a:lnTo>
                  <a:lnTo>
                    <a:pt x="42" y="222"/>
                  </a:lnTo>
                  <a:lnTo>
                    <a:pt x="50" y="232"/>
                  </a:lnTo>
                  <a:lnTo>
                    <a:pt x="56" y="236"/>
                  </a:lnTo>
                  <a:lnTo>
                    <a:pt x="58" y="230"/>
                  </a:lnTo>
                  <a:lnTo>
                    <a:pt x="68" y="228"/>
                  </a:lnTo>
                  <a:lnTo>
                    <a:pt x="76" y="236"/>
                  </a:lnTo>
                  <a:lnTo>
                    <a:pt x="78" y="230"/>
                  </a:lnTo>
                  <a:lnTo>
                    <a:pt x="94" y="230"/>
                  </a:lnTo>
                  <a:lnTo>
                    <a:pt x="118" y="234"/>
                  </a:lnTo>
                  <a:lnTo>
                    <a:pt x="134" y="238"/>
                  </a:lnTo>
                  <a:lnTo>
                    <a:pt x="140" y="244"/>
                  </a:lnTo>
                  <a:lnTo>
                    <a:pt x="148" y="254"/>
                  </a:lnTo>
                  <a:lnTo>
                    <a:pt x="152" y="260"/>
                  </a:lnTo>
                  <a:lnTo>
                    <a:pt x="160" y="254"/>
                  </a:lnTo>
                  <a:lnTo>
                    <a:pt x="168" y="254"/>
                  </a:lnTo>
                  <a:lnTo>
                    <a:pt x="182" y="262"/>
                  </a:lnTo>
                  <a:lnTo>
                    <a:pt x="200" y="278"/>
                  </a:lnTo>
                  <a:lnTo>
                    <a:pt x="204" y="274"/>
                  </a:lnTo>
                  <a:lnTo>
                    <a:pt x="204" y="264"/>
                  </a:lnTo>
                  <a:lnTo>
                    <a:pt x="204" y="252"/>
                  </a:lnTo>
                  <a:lnTo>
                    <a:pt x="204" y="242"/>
                  </a:lnTo>
                  <a:lnTo>
                    <a:pt x="196" y="230"/>
                  </a:lnTo>
                  <a:lnTo>
                    <a:pt x="190" y="232"/>
                  </a:lnTo>
                  <a:lnTo>
                    <a:pt x="178" y="226"/>
                  </a:lnTo>
                  <a:lnTo>
                    <a:pt x="158" y="212"/>
                  </a:lnTo>
                  <a:lnTo>
                    <a:pt x="152" y="206"/>
                  </a:lnTo>
                  <a:lnTo>
                    <a:pt x="140" y="206"/>
                  </a:lnTo>
                  <a:lnTo>
                    <a:pt x="132" y="200"/>
                  </a:lnTo>
                  <a:lnTo>
                    <a:pt x="132" y="196"/>
                  </a:lnTo>
                  <a:lnTo>
                    <a:pt x="140" y="188"/>
                  </a:lnTo>
                  <a:lnTo>
                    <a:pt x="144" y="186"/>
                  </a:lnTo>
                  <a:lnTo>
                    <a:pt x="138" y="178"/>
                  </a:lnTo>
                  <a:lnTo>
                    <a:pt x="134" y="170"/>
                  </a:lnTo>
                  <a:lnTo>
                    <a:pt x="138" y="164"/>
                  </a:lnTo>
                  <a:lnTo>
                    <a:pt x="148" y="176"/>
                  </a:lnTo>
                  <a:lnTo>
                    <a:pt x="158" y="180"/>
                  </a:lnTo>
                  <a:lnTo>
                    <a:pt x="158" y="170"/>
                  </a:lnTo>
                  <a:lnTo>
                    <a:pt x="152" y="160"/>
                  </a:lnTo>
                  <a:lnTo>
                    <a:pt x="140" y="144"/>
                  </a:lnTo>
                  <a:lnTo>
                    <a:pt x="126" y="124"/>
                  </a:lnTo>
                  <a:lnTo>
                    <a:pt x="126" y="114"/>
                  </a:lnTo>
                  <a:lnTo>
                    <a:pt x="124" y="106"/>
                  </a:lnTo>
                  <a:lnTo>
                    <a:pt x="122" y="96"/>
                  </a:lnTo>
                  <a:lnTo>
                    <a:pt x="120" y="86"/>
                  </a:lnTo>
                  <a:lnTo>
                    <a:pt x="130" y="84"/>
                  </a:lnTo>
                  <a:lnTo>
                    <a:pt x="128" y="90"/>
                  </a:lnTo>
                  <a:lnTo>
                    <a:pt x="136" y="100"/>
                  </a:lnTo>
                  <a:lnTo>
                    <a:pt x="142" y="100"/>
                  </a:lnTo>
                  <a:lnTo>
                    <a:pt x="140" y="106"/>
                  </a:lnTo>
                  <a:lnTo>
                    <a:pt x="166" y="130"/>
                  </a:lnTo>
                  <a:lnTo>
                    <a:pt x="168" y="126"/>
                  </a:lnTo>
                  <a:lnTo>
                    <a:pt x="162" y="114"/>
                  </a:lnTo>
                  <a:lnTo>
                    <a:pt x="170" y="112"/>
                  </a:lnTo>
                  <a:lnTo>
                    <a:pt x="182" y="116"/>
                  </a:lnTo>
                  <a:lnTo>
                    <a:pt x="190" y="126"/>
                  </a:lnTo>
                  <a:lnTo>
                    <a:pt x="190" y="120"/>
                  </a:lnTo>
                  <a:lnTo>
                    <a:pt x="182" y="108"/>
                  </a:lnTo>
                  <a:lnTo>
                    <a:pt x="182" y="104"/>
                  </a:lnTo>
                  <a:lnTo>
                    <a:pt x="190" y="100"/>
                  </a:lnTo>
                  <a:lnTo>
                    <a:pt x="208" y="108"/>
                  </a:lnTo>
                  <a:lnTo>
                    <a:pt x="212" y="106"/>
                  </a:lnTo>
                  <a:lnTo>
                    <a:pt x="210" y="98"/>
                  </a:lnTo>
                  <a:lnTo>
                    <a:pt x="202" y="92"/>
                  </a:lnTo>
                  <a:lnTo>
                    <a:pt x="190" y="88"/>
                  </a:lnTo>
                  <a:lnTo>
                    <a:pt x="182" y="80"/>
                  </a:lnTo>
                  <a:lnTo>
                    <a:pt x="180" y="76"/>
                  </a:lnTo>
                  <a:lnTo>
                    <a:pt x="182" y="70"/>
                  </a:lnTo>
                  <a:lnTo>
                    <a:pt x="202" y="68"/>
                  </a:lnTo>
                  <a:lnTo>
                    <a:pt x="220" y="62"/>
                  </a:lnTo>
                  <a:lnTo>
                    <a:pt x="234" y="64"/>
                  </a:lnTo>
                  <a:lnTo>
                    <a:pt x="258" y="58"/>
                  </a:lnTo>
                  <a:lnTo>
                    <a:pt x="262" y="56"/>
                  </a:lnTo>
                  <a:lnTo>
                    <a:pt x="278" y="62"/>
                  </a:lnTo>
                  <a:lnTo>
                    <a:pt x="292" y="70"/>
                  </a:lnTo>
                  <a:lnTo>
                    <a:pt x="300" y="54"/>
                  </a:lnTo>
                  <a:lnTo>
                    <a:pt x="312" y="38"/>
                  </a:lnTo>
                  <a:lnTo>
                    <a:pt x="316" y="34"/>
                  </a:lnTo>
                  <a:lnTo>
                    <a:pt x="318" y="6"/>
                  </a:lnTo>
                  <a:lnTo>
                    <a:pt x="316" y="4"/>
                  </a:lnTo>
                  <a:lnTo>
                    <a:pt x="308" y="0"/>
                  </a:lnTo>
                  <a:lnTo>
                    <a:pt x="300" y="0"/>
                  </a:lnTo>
                  <a:lnTo>
                    <a:pt x="296" y="4"/>
                  </a:lnTo>
                  <a:lnTo>
                    <a:pt x="296" y="14"/>
                  </a:lnTo>
                  <a:lnTo>
                    <a:pt x="298" y="22"/>
                  </a:lnTo>
                  <a:lnTo>
                    <a:pt x="286" y="24"/>
                  </a:lnTo>
                  <a:lnTo>
                    <a:pt x="278" y="30"/>
                  </a:lnTo>
                  <a:lnTo>
                    <a:pt x="274" y="32"/>
                  </a:lnTo>
                  <a:lnTo>
                    <a:pt x="256" y="28"/>
                  </a:lnTo>
                  <a:lnTo>
                    <a:pt x="250" y="24"/>
                  </a:lnTo>
                  <a:lnTo>
                    <a:pt x="240" y="28"/>
                  </a:lnTo>
                  <a:lnTo>
                    <a:pt x="226" y="14"/>
                  </a:lnTo>
                  <a:lnTo>
                    <a:pt x="210" y="24"/>
                  </a:lnTo>
                  <a:lnTo>
                    <a:pt x="200" y="32"/>
                  </a:lnTo>
                  <a:lnTo>
                    <a:pt x="188" y="36"/>
                  </a:lnTo>
                  <a:lnTo>
                    <a:pt x="170" y="40"/>
                  </a:lnTo>
                  <a:lnTo>
                    <a:pt x="158" y="44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34" y="56"/>
                  </a:lnTo>
                  <a:lnTo>
                    <a:pt x="126" y="56"/>
                  </a:lnTo>
                  <a:lnTo>
                    <a:pt x="112" y="58"/>
                  </a:lnTo>
                  <a:lnTo>
                    <a:pt x="100" y="56"/>
                  </a:lnTo>
                  <a:lnTo>
                    <a:pt x="92" y="70"/>
                  </a:lnTo>
                  <a:lnTo>
                    <a:pt x="82" y="70"/>
                  </a:lnTo>
                  <a:lnTo>
                    <a:pt x="72" y="70"/>
                  </a:lnTo>
                  <a:lnTo>
                    <a:pt x="64" y="6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92" name="Freeform 86"/>
            <p:cNvSpPr>
              <a:spLocks/>
            </p:cNvSpPr>
            <p:nvPr/>
          </p:nvSpPr>
          <p:spPr bwMode="auto">
            <a:xfrm>
              <a:off x="2255585" y="2951740"/>
              <a:ext cx="55055" cy="45050"/>
            </a:xfrm>
            <a:custGeom>
              <a:avLst/>
              <a:gdLst>
                <a:gd name="T0" fmla="*/ 6 w 80"/>
                <a:gd name="T1" fmla="*/ 0 h 62"/>
                <a:gd name="T2" fmla="*/ 0 w 80"/>
                <a:gd name="T3" fmla="*/ 6 h 62"/>
                <a:gd name="T4" fmla="*/ 8 w 80"/>
                <a:gd name="T5" fmla="*/ 18 h 62"/>
                <a:gd name="T6" fmla="*/ 18 w 80"/>
                <a:gd name="T7" fmla="*/ 22 h 62"/>
                <a:gd name="T8" fmla="*/ 28 w 80"/>
                <a:gd name="T9" fmla="*/ 34 h 62"/>
                <a:gd name="T10" fmla="*/ 38 w 80"/>
                <a:gd name="T11" fmla="*/ 38 h 62"/>
                <a:gd name="T12" fmla="*/ 54 w 80"/>
                <a:gd name="T13" fmla="*/ 50 h 62"/>
                <a:gd name="T14" fmla="*/ 64 w 80"/>
                <a:gd name="T15" fmla="*/ 54 h 62"/>
                <a:gd name="T16" fmla="*/ 76 w 80"/>
                <a:gd name="T17" fmla="*/ 62 h 62"/>
                <a:gd name="T18" fmla="*/ 80 w 80"/>
                <a:gd name="T19" fmla="*/ 58 h 62"/>
                <a:gd name="T20" fmla="*/ 54 w 80"/>
                <a:gd name="T21" fmla="*/ 40 h 62"/>
                <a:gd name="T22" fmla="*/ 54 w 80"/>
                <a:gd name="T23" fmla="*/ 32 h 62"/>
                <a:gd name="T24" fmla="*/ 50 w 80"/>
                <a:gd name="T25" fmla="*/ 24 h 62"/>
                <a:gd name="T26" fmla="*/ 40 w 80"/>
                <a:gd name="T27" fmla="*/ 14 h 62"/>
                <a:gd name="T28" fmla="*/ 36 w 80"/>
                <a:gd name="T29" fmla="*/ 16 h 62"/>
                <a:gd name="T30" fmla="*/ 24 w 80"/>
                <a:gd name="T31" fmla="*/ 6 h 62"/>
                <a:gd name="T32" fmla="*/ 16 w 80"/>
                <a:gd name="T33" fmla="*/ 4 h 62"/>
                <a:gd name="T34" fmla="*/ 6 w 80"/>
                <a:gd name="T3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0" h="62">
                  <a:moveTo>
                    <a:pt x="6" y="0"/>
                  </a:moveTo>
                  <a:lnTo>
                    <a:pt x="0" y="6"/>
                  </a:lnTo>
                  <a:lnTo>
                    <a:pt x="8" y="18"/>
                  </a:lnTo>
                  <a:lnTo>
                    <a:pt x="18" y="22"/>
                  </a:lnTo>
                  <a:lnTo>
                    <a:pt x="28" y="34"/>
                  </a:lnTo>
                  <a:lnTo>
                    <a:pt x="38" y="38"/>
                  </a:lnTo>
                  <a:lnTo>
                    <a:pt x="54" y="50"/>
                  </a:lnTo>
                  <a:lnTo>
                    <a:pt x="64" y="54"/>
                  </a:lnTo>
                  <a:lnTo>
                    <a:pt x="76" y="62"/>
                  </a:lnTo>
                  <a:lnTo>
                    <a:pt x="80" y="58"/>
                  </a:lnTo>
                  <a:lnTo>
                    <a:pt x="54" y="40"/>
                  </a:lnTo>
                  <a:lnTo>
                    <a:pt x="54" y="32"/>
                  </a:lnTo>
                  <a:lnTo>
                    <a:pt x="50" y="24"/>
                  </a:lnTo>
                  <a:lnTo>
                    <a:pt x="40" y="14"/>
                  </a:lnTo>
                  <a:lnTo>
                    <a:pt x="36" y="16"/>
                  </a:lnTo>
                  <a:lnTo>
                    <a:pt x="24" y="6"/>
                  </a:lnTo>
                  <a:lnTo>
                    <a:pt x="16" y="4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93" name="Freeform 87"/>
            <p:cNvSpPr>
              <a:spLocks/>
            </p:cNvSpPr>
            <p:nvPr/>
          </p:nvSpPr>
          <p:spPr bwMode="auto">
            <a:xfrm>
              <a:off x="2255585" y="2951740"/>
              <a:ext cx="55055" cy="45050"/>
            </a:xfrm>
            <a:custGeom>
              <a:avLst/>
              <a:gdLst>
                <a:gd name="T0" fmla="*/ 6 w 80"/>
                <a:gd name="T1" fmla="*/ 0 h 62"/>
                <a:gd name="T2" fmla="*/ 0 w 80"/>
                <a:gd name="T3" fmla="*/ 6 h 62"/>
                <a:gd name="T4" fmla="*/ 8 w 80"/>
                <a:gd name="T5" fmla="*/ 18 h 62"/>
                <a:gd name="T6" fmla="*/ 18 w 80"/>
                <a:gd name="T7" fmla="*/ 22 h 62"/>
                <a:gd name="T8" fmla="*/ 28 w 80"/>
                <a:gd name="T9" fmla="*/ 34 h 62"/>
                <a:gd name="T10" fmla="*/ 38 w 80"/>
                <a:gd name="T11" fmla="*/ 38 h 62"/>
                <a:gd name="T12" fmla="*/ 54 w 80"/>
                <a:gd name="T13" fmla="*/ 50 h 62"/>
                <a:gd name="T14" fmla="*/ 64 w 80"/>
                <a:gd name="T15" fmla="*/ 54 h 62"/>
                <a:gd name="T16" fmla="*/ 76 w 80"/>
                <a:gd name="T17" fmla="*/ 62 h 62"/>
                <a:gd name="T18" fmla="*/ 80 w 80"/>
                <a:gd name="T19" fmla="*/ 58 h 62"/>
                <a:gd name="T20" fmla="*/ 54 w 80"/>
                <a:gd name="T21" fmla="*/ 40 h 62"/>
                <a:gd name="T22" fmla="*/ 54 w 80"/>
                <a:gd name="T23" fmla="*/ 32 h 62"/>
                <a:gd name="T24" fmla="*/ 50 w 80"/>
                <a:gd name="T25" fmla="*/ 24 h 62"/>
                <a:gd name="T26" fmla="*/ 40 w 80"/>
                <a:gd name="T27" fmla="*/ 14 h 62"/>
                <a:gd name="T28" fmla="*/ 36 w 80"/>
                <a:gd name="T29" fmla="*/ 16 h 62"/>
                <a:gd name="T30" fmla="*/ 24 w 80"/>
                <a:gd name="T31" fmla="*/ 6 h 62"/>
                <a:gd name="T32" fmla="*/ 16 w 80"/>
                <a:gd name="T33" fmla="*/ 4 h 62"/>
                <a:gd name="T34" fmla="*/ 6 w 80"/>
                <a:gd name="T3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0" h="62">
                  <a:moveTo>
                    <a:pt x="6" y="0"/>
                  </a:moveTo>
                  <a:lnTo>
                    <a:pt x="0" y="6"/>
                  </a:lnTo>
                  <a:lnTo>
                    <a:pt x="8" y="18"/>
                  </a:lnTo>
                  <a:lnTo>
                    <a:pt x="18" y="22"/>
                  </a:lnTo>
                  <a:lnTo>
                    <a:pt x="28" y="34"/>
                  </a:lnTo>
                  <a:lnTo>
                    <a:pt x="38" y="38"/>
                  </a:lnTo>
                  <a:lnTo>
                    <a:pt x="54" y="50"/>
                  </a:lnTo>
                  <a:lnTo>
                    <a:pt x="64" y="54"/>
                  </a:lnTo>
                  <a:lnTo>
                    <a:pt x="76" y="62"/>
                  </a:lnTo>
                  <a:lnTo>
                    <a:pt x="80" y="58"/>
                  </a:lnTo>
                  <a:lnTo>
                    <a:pt x="54" y="40"/>
                  </a:lnTo>
                  <a:lnTo>
                    <a:pt x="54" y="32"/>
                  </a:lnTo>
                  <a:lnTo>
                    <a:pt x="50" y="24"/>
                  </a:lnTo>
                  <a:lnTo>
                    <a:pt x="40" y="14"/>
                  </a:lnTo>
                  <a:lnTo>
                    <a:pt x="36" y="16"/>
                  </a:lnTo>
                  <a:lnTo>
                    <a:pt x="24" y="6"/>
                  </a:lnTo>
                  <a:lnTo>
                    <a:pt x="16" y="4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94" name="Freeform 88"/>
            <p:cNvSpPr>
              <a:spLocks/>
            </p:cNvSpPr>
            <p:nvPr/>
          </p:nvSpPr>
          <p:spPr bwMode="auto">
            <a:xfrm>
              <a:off x="2273478" y="3104329"/>
              <a:ext cx="101851" cy="29064"/>
            </a:xfrm>
            <a:custGeom>
              <a:avLst/>
              <a:gdLst>
                <a:gd name="T0" fmla="*/ 30 w 148"/>
                <a:gd name="T1" fmla="*/ 8 h 40"/>
                <a:gd name="T2" fmla="*/ 40 w 148"/>
                <a:gd name="T3" fmla="*/ 4 h 40"/>
                <a:gd name="T4" fmla="*/ 46 w 148"/>
                <a:gd name="T5" fmla="*/ 8 h 40"/>
                <a:gd name="T6" fmla="*/ 50 w 148"/>
                <a:gd name="T7" fmla="*/ 10 h 40"/>
                <a:gd name="T8" fmla="*/ 58 w 148"/>
                <a:gd name="T9" fmla="*/ 6 h 40"/>
                <a:gd name="T10" fmla="*/ 64 w 148"/>
                <a:gd name="T11" fmla="*/ 4 h 40"/>
                <a:gd name="T12" fmla="*/ 88 w 148"/>
                <a:gd name="T13" fmla="*/ 6 h 40"/>
                <a:gd name="T14" fmla="*/ 110 w 148"/>
                <a:gd name="T15" fmla="*/ 4 h 40"/>
                <a:gd name="T16" fmla="*/ 116 w 148"/>
                <a:gd name="T17" fmla="*/ 12 h 40"/>
                <a:gd name="T18" fmla="*/ 116 w 148"/>
                <a:gd name="T19" fmla="*/ 14 h 40"/>
                <a:gd name="T20" fmla="*/ 134 w 148"/>
                <a:gd name="T21" fmla="*/ 12 h 40"/>
                <a:gd name="T22" fmla="*/ 142 w 148"/>
                <a:gd name="T23" fmla="*/ 14 h 40"/>
                <a:gd name="T24" fmla="*/ 148 w 148"/>
                <a:gd name="T25" fmla="*/ 20 h 40"/>
                <a:gd name="T26" fmla="*/ 142 w 148"/>
                <a:gd name="T27" fmla="*/ 26 h 40"/>
                <a:gd name="T28" fmla="*/ 128 w 148"/>
                <a:gd name="T29" fmla="*/ 24 h 40"/>
                <a:gd name="T30" fmla="*/ 118 w 148"/>
                <a:gd name="T31" fmla="*/ 30 h 40"/>
                <a:gd name="T32" fmla="*/ 102 w 148"/>
                <a:gd name="T33" fmla="*/ 30 h 40"/>
                <a:gd name="T34" fmla="*/ 86 w 148"/>
                <a:gd name="T35" fmla="*/ 36 h 40"/>
                <a:gd name="T36" fmla="*/ 72 w 148"/>
                <a:gd name="T37" fmla="*/ 40 h 40"/>
                <a:gd name="T38" fmla="*/ 60 w 148"/>
                <a:gd name="T39" fmla="*/ 32 h 40"/>
                <a:gd name="T40" fmla="*/ 46 w 148"/>
                <a:gd name="T41" fmla="*/ 24 h 40"/>
                <a:gd name="T42" fmla="*/ 32 w 148"/>
                <a:gd name="T43" fmla="*/ 24 h 40"/>
                <a:gd name="T44" fmla="*/ 12 w 148"/>
                <a:gd name="T45" fmla="*/ 20 h 40"/>
                <a:gd name="T46" fmla="*/ 4 w 148"/>
                <a:gd name="T47" fmla="*/ 14 h 40"/>
                <a:gd name="T48" fmla="*/ 0 w 148"/>
                <a:gd name="T49" fmla="*/ 4 h 40"/>
                <a:gd name="T50" fmla="*/ 2 w 148"/>
                <a:gd name="T51" fmla="*/ 0 h 40"/>
                <a:gd name="T52" fmla="*/ 18 w 148"/>
                <a:gd name="T53" fmla="*/ 4 h 40"/>
                <a:gd name="T54" fmla="*/ 30 w 148"/>
                <a:gd name="T55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40">
                  <a:moveTo>
                    <a:pt x="30" y="8"/>
                  </a:moveTo>
                  <a:lnTo>
                    <a:pt x="40" y="4"/>
                  </a:lnTo>
                  <a:lnTo>
                    <a:pt x="46" y="8"/>
                  </a:lnTo>
                  <a:lnTo>
                    <a:pt x="50" y="10"/>
                  </a:lnTo>
                  <a:lnTo>
                    <a:pt x="58" y="6"/>
                  </a:lnTo>
                  <a:lnTo>
                    <a:pt x="64" y="4"/>
                  </a:lnTo>
                  <a:lnTo>
                    <a:pt x="88" y="6"/>
                  </a:lnTo>
                  <a:lnTo>
                    <a:pt x="110" y="4"/>
                  </a:lnTo>
                  <a:lnTo>
                    <a:pt x="116" y="12"/>
                  </a:lnTo>
                  <a:lnTo>
                    <a:pt x="116" y="14"/>
                  </a:lnTo>
                  <a:lnTo>
                    <a:pt x="134" y="12"/>
                  </a:lnTo>
                  <a:lnTo>
                    <a:pt x="142" y="14"/>
                  </a:lnTo>
                  <a:lnTo>
                    <a:pt x="148" y="20"/>
                  </a:lnTo>
                  <a:lnTo>
                    <a:pt x="142" y="26"/>
                  </a:lnTo>
                  <a:lnTo>
                    <a:pt x="128" y="24"/>
                  </a:lnTo>
                  <a:lnTo>
                    <a:pt x="118" y="30"/>
                  </a:lnTo>
                  <a:lnTo>
                    <a:pt x="102" y="30"/>
                  </a:lnTo>
                  <a:lnTo>
                    <a:pt x="86" y="36"/>
                  </a:lnTo>
                  <a:lnTo>
                    <a:pt x="72" y="40"/>
                  </a:lnTo>
                  <a:lnTo>
                    <a:pt x="60" y="32"/>
                  </a:lnTo>
                  <a:lnTo>
                    <a:pt x="46" y="24"/>
                  </a:lnTo>
                  <a:lnTo>
                    <a:pt x="32" y="24"/>
                  </a:lnTo>
                  <a:lnTo>
                    <a:pt x="12" y="20"/>
                  </a:lnTo>
                  <a:lnTo>
                    <a:pt x="4" y="14"/>
                  </a:lnTo>
                  <a:lnTo>
                    <a:pt x="0" y="4"/>
                  </a:lnTo>
                  <a:lnTo>
                    <a:pt x="2" y="0"/>
                  </a:lnTo>
                  <a:lnTo>
                    <a:pt x="18" y="4"/>
                  </a:lnTo>
                  <a:lnTo>
                    <a:pt x="30" y="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95" name="Freeform 89"/>
            <p:cNvSpPr>
              <a:spLocks/>
            </p:cNvSpPr>
            <p:nvPr/>
          </p:nvSpPr>
          <p:spPr bwMode="auto">
            <a:xfrm>
              <a:off x="2273478" y="3104329"/>
              <a:ext cx="101851" cy="29064"/>
            </a:xfrm>
            <a:custGeom>
              <a:avLst/>
              <a:gdLst>
                <a:gd name="T0" fmla="*/ 30 w 148"/>
                <a:gd name="T1" fmla="*/ 8 h 40"/>
                <a:gd name="T2" fmla="*/ 40 w 148"/>
                <a:gd name="T3" fmla="*/ 4 h 40"/>
                <a:gd name="T4" fmla="*/ 46 w 148"/>
                <a:gd name="T5" fmla="*/ 8 h 40"/>
                <a:gd name="T6" fmla="*/ 50 w 148"/>
                <a:gd name="T7" fmla="*/ 10 h 40"/>
                <a:gd name="T8" fmla="*/ 58 w 148"/>
                <a:gd name="T9" fmla="*/ 6 h 40"/>
                <a:gd name="T10" fmla="*/ 64 w 148"/>
                <a:gd name="T11" fmla="*/ 4 h 40"/>
                <a:gd name="T12" fmla="*/ 88 w 148"/>
                <a:gd name="T13" fmla="*/ 6 h 40"/>
                <a:gd name="T14" fmla="*/ 110 w 148"/>
                <a:gd name="T15" fmla="*/ 4 h 40"/>
                <a:gd name="T16" fmla="*/ 116 w 148"/>
                <a:gd name="T17" fmla="*/ 12 h 40"/>
                <a:gd name="T18" fmla="*/ 116 w 148"/>
                <a:gd name="T19" fmla="*/ 14 h 40"/>
                <a:gd name="T20" fmla="*/ 134 w 148"/>
                <a:gd name="T21" fmla="*/ 12 h 40"/>
                <a:gd name="T22" fmla="*/ 142 w 148"/>
                <a:gd name="T23" fmla="*/ 14 h 40"/>
                <a:gd name="T24" fmla="*/ 148 w 148"/>
                <a:gd name="T25" fmla="*/ 20 h 40"/>
                <a:gd name="T26" fmla="*/ 142 w 148"/>
                <a:gd name="T27" fmla="*/ 26 h 40"/>
                <a:gd name="T28" fmla="*/ 128 w 148"/>
                <a:gd name="T29" fmla="*/ 24 h 40"/>
                <a:gd name="T30" fmla="*/ 118 w 148"/>
                <a:gd name="T31" fmla="*/ 30 h 40"/>
                <a:gd name="T32" fmla="*/ 102 w 148"/>
                <a:gd name="T33" fmla="*/ 30 h 40"/>
                <a:gd name="T34" fmla="*/ 86 w 148"/>
                <a:gd name="T35" fmla="*/ 36 h 40"/>
                <a:gd name="T36" fmla="*/ 72 w 148"/>
                <a:gd name="T37" fmla="*/ 40 h 40"/>
                <a:gd name="T38" fmla="*/ 60 w 148"/>
                <a:gd name="T39" fmla="*/ 32 h 40"/>
                <a:gd name="T40" fmla="*/ 46 w 148"/>
                <a:gd name="T41" fmla="*/ 24 h 40"/>
                <a:gd name="T42" fmla="*/ 32 w 148"/>
                <a:gd name="T43" fmla="*/ 24 h 40"/>
                <a:gd name="T44" fmla="*/ 12 w 148"/>
                <a:gd name="T45" fmla="*/ 20 h 40"/>
                <a:gd name="T46" fmla="*/ 4 w 148"/>
                <a:gd name="T47" fmla="*/ 14 h 40"/>
                <a:gd name="T48" fmla="*/ 0 w 148"/>
                <a:gd name="T49" fmla="*/ 4 h 40"/>
                <a:gd name="T50" fmla="*/ 2 w 148"/>
                <a:gd name="T51" fmla="*/ 0 h 40"/>
                <a:gd name="T52" fmla="*/ 18 w 148"/>
                <a:gd name="T53" fmla="*/ 4 h 40"/>
                <a:gd name="T54" fmla="*/ 30 w 148"/>
                <a:gd name="T55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8" h="40">
                  <a:moveTo>
                    <a:pt x="30" y="8"/>
                  </a:moveTo>
                  <a:lnTo>
                    <a:pt x="40" y="4"/>
                  </a:lnTo>
                  <a:lnTo>
                    <a:pt x="46" y="8"/>
                  </a:lnTo>
                  <a:lnTo>
                    <a:pt x="50" y="10"/>
                  </a:lnTo>
                  <a:lnTo>
                    <a:pt x="58" y="6"/>
                  </a:lnTo>
                  <a:lnTo>
                    <a:pt x="64" y="4"/>
                  </a:lnTo>
                  <a:lnTo>
                    <a:pt x="88" y="6"/>
                  </a:lnTo>
                  <a:lnTo>
                    <a:pt x="110" y="4"/>
                  </a:lnTo>
                  <a:lnTo>
                    <a:pt x="116" y="12"/>
                  </a:lnTo>
                  <a:lnTo>
                    <a:pt x="116" y="14"/>
                  </a:lnTo>
                  <a:lnTo>
                    <a:pt x="134" y="12"/>
                  </a:lnTo>
                  <a:lnTo>
                    <a:pt x="142" y="14"/>
                  </a:lnTo>
                  <a:lnTo>
                    <a:pt x="148" y="20"/>
                  </a:lnTo>
                  <a:lnTo>
                    <a:pt x="142" y="26"/>
                  </a:lnTo>
                  <a:lnTo>
                    <a:pt x="128" y="24"/>
                  </a:lnTo>
                  <a:lnTo>
                    <a:pt x="118" y="30"/>
                  </a:lnTo>
                  <a:lnTo>
                    <a:pt x="102" y="30"/>
                  </a:lnTo>
                  <a:lnTo>
                    <a:pt x="86" y="36"/>
                  </a:lnTo>
                  <a:lnTo>
                    <a:pt x="72" y="40"/>
                  </a:lnTo>
                  <a:lnTo>
                    <a:pt x="60" y="32"/>
                  </a:lnTo>
                  <a:lnTo>
                    <a:pt x="46" y="24"/>
                  </a:lnTo>
                  <a:lnTo>
                    <a:pt x="32" y="24"/>
                  </a:lnTo>
                  <a:lnTo>
                    <a:pt x="12" y="20"/>
                  </a:lnTo>
                  <a:lnTo>
                    <a:pt x="4" y="14"/>
                  </a:lnTo>
                  <a:lnTo>
                    <a:pt x="0" y="4"/>
                  </a:lnTo>
                  <a:lnTo>
                    <a:pt x="2" y="0"/>
                  </a:lnTo>
                  <a:lnTo>
                    <a:pt x="18" y="4"/>
                  </a:lnTo>
                  <a:lnTo>
                    <a:pt x="30" y="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96" name="Freeform 90"/>
            <p:cNvSpPr>
              <a:spLocks/>
            </p:cNvSpPr>
            <p:nvPr/>
          </p:nvSpPr>
          <p:spPr bwMode="auto">
            <a:xfrm>
              <a:off x="2316145" y="2897971"/>
              <a:ext cx="15140" cy="14532"/>
            </a:xfrm>
            <a:custGeom>
              <a:avLst/>
              <a:gdLst>
                <a:gd name="T0" fmla="*/ 22 w 22"/>
                <a:gd name="T1" fmla="*/ 0 h 20"/>
                <a:gd name="T2" fmla="*/ 8 w 22"/>
                <a:gd name="T3" fmla="*/ 0 h 20"/>
                <a:gd name="T4" fmla="*/ 2 w 22"/>
                <a:gd name="T5" fmla="*/ 4 h 20"/>
                <a:gd name="T6" fmla="*/ 0 w 22"/>
                <a:gd name="T7" fmla="*/ 12 h 20"/>
                <a:gd name="T8" fmla="*/ 0 w 22"/>
                <a:gd name="T9" fmla="*/ 18 h 20"/>
                <a:gd name="T10" fmla="*/ 6 w 22"/>
                <a:gd name="T11" fmla="*/ 20 h 20"/>
                <a:gd name="T12" fmla="*/ 20 w 22"/>
                <a:gd name="T13" fmla="*/ 12 h 20"/>
                <a:gd name="T14" fmla="*/ 22 w 22"/>
                <a:gd name="T1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0">
                  <a:moveTo>
                    <a:pt x="22" y="0"/>
                  </a:moveTo>
                  <a:lnTo>
                    <a:pt x="8" y="0"/>
                  </a:lnTo>
                  <a:lnTo>
                    <a:pt x="2" y="4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20"/>
                  </a:lnTo>
                  <a:lnTo>
                    <a:pt x="20" y="12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97" name="Freeform 91"/>
            <p:cNvSpPr>
              <a:spLocks/>
            </p:cNvSpPr>
            <p:nvPr/>
          </p:nvSpPr>
          <p:spPr bwMode="auto">
            <a:xfrm>
              <a:off x="2316145" y="2897971"/>
              <a:ext cx="15140" cy="14532"/>
            </a:xfrm>
            <a:custGeom>
              <a:avLst/>
              <a:gdLst>
                <a:gd name="T0" fmla="*/ 22 w 22"/>
                <a:gd name="T1" fmla="*/ 0 h 20"/>
                <a:gd name="T2" fmla="*/ 8 w 22"/>
                <a:gd name="T3" fmla="*/ 0 h 20"/>
                <a:gd name="T4" fmla="*/ 2 w 22"/>
                <a:gd name="T5" fmla="*/ 4 h 20"/>
                <a:gd name="T6" fmla="*/ 0 w 22"/>
                <a:gd name="T7" fmla="*/ 12 h 20"/>
                <a:gd name="T8" fmla="*/ 0 w 22"/>
                <a:gd name="T9" fmla="*/ 18 h 20"/>
                <a:gd name="T10" fmla="*/ 6 w 22"/>
                <a:gd name="T11" fmla="*/ 20 h 20"/>
                <a:gd name="T12" fmla="*/ 20 w 22"/>
                <a:gd name="T13" fmla="*/ 12 h 20"/>
                <a:gd name="T14" fmla="*/ 22 w 22"/>
                <a:gd name="T1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0">
                  <a:moveTo>
                    <a:pt x="22" y="0"/>
                  </a:moveTo>
                  <a:lnTo>
                    <a:pt x="8" y="0"/>
                  </a:lnTo>
                  <a:lnTo>
                    <a:pt x="2" y="4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6" y="20"/>
                  </a:lnTo>
                  <a:lnTo>
                    <a:pt x="20" y="12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02" name="Freeform 96"/>
            <p:cNvSpPr>
              <a:spLocks/>
            </p:cNvSpPr>
            <p:nvPr/>
          </p:nvSpPr>
          <p:spPr bwMode="auto">
            <a:xfrm>
              <a:off x="2345049" y="2922676"/>
              <a:ext cx="26151" cy="20345"/>
            </a:xfrm>
            <a:custGeom>
              <a:avLst/>
              <a:gdLst>
                <a:gd name="T0" fmla="*/ 20 w 38"/>
                <a:gd name="T1" fmla="*/ 0 h 28"/>
                <a:gd name="T2" fmla="*/ 38 w 38"/>
                <a:gd name="T3" fmla="*/ 20 h 28"/>
                <a:gd name="T4" fmla="*/ 36 w 38"/>
                <a:gd name="T5" fmla="*/ 24 h 28"/>
                <a:gd name="T6" fmla="*/ 26 w 38"/>
                <a:gd name="T7" fmla="*/ 28 h 28"/>
                <a:gd name="T8" fmla="*/ 24 w 38"/>
                <a:gd name="T9" fmla="*/ 20 h 28"/>
                <a:gd name="T10" fmla="*/ 20 w 38"/>
                <a:gd name="T11" fmla="*/ 18 h 28"/>
                <a:gd name="T12" fmla="*/ 14 w 38"/>
                <a:gd name="T13" fmla="*/ 20 h 28"/>
                <a:gd name="T14" fmla="*/ 8 w 38"/>
                <a:gd name="T15" fmla="*/ 16 h 28"/>
                <a:gd name="T16" fmla="*/ 6 w 38"/>
                <a:gd name="T17" fmla="*/ 12 h 28"/>
                <a:gd name="T18" fmla="*/ 10 w 38"/>
                <a:gd name="T19" fmla="*/ 10 h 28"/>
                <a:gd name="T20" fmla="*/ 2 w 38"/>
                <a:gd name="T21" fmla="*/ 14 h 28"/>
                <a:gd name="T22" fmla="*/ 0 w 38"/>
                <a:gd name="T23" fmla="*/ 10 h 28"/>
                <a:gd name="T24" fmla="*/ 10 w 38"/>
                <a:gd name="T25" fmla="*/ 6 h 28"/>
                <a:gd name="T26" fmla="*/ 20 w 38"/>
                <a:gd name="T2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28">
                  <a:moveTo>
                    <a:pt x="20" y="0"/>
                  </a:moveTo>
                  <a:lnTo>
                    <a:pt x="38" y="20"/>
                  </a:lnTo>
                  <a:lnTo>
                    <a:pt x="36" y="24"/>
                  </a:lnTo>
                  <a:lnTo>
                    <a:pt x="26" y="28"/>
                  </a:lnTo>
                  <a:lnTo>
                    <a:pt x="24" y="20"/>
                  </a:lnTo>
                  <a:lnTo>
                    <a:pt x="20" y="18"/>
                  </a:lnTo>
                  <a:lnTo>
                    <a:pt x="14" y="20"/>
                  </a:lnTo>
                  <a:lnTo>
                    <a:pt x="8" y="16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10" y="6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03" name="Freeform 97"/>
            <p:cNvSpPr>
              <a:spLocks/>
            </p:cNvSpPr>
            <p:nvPr/>
          </p:nvSpPr>
          <p:spPr bwMode="auto">
            <a:xfrm>
              <a:off x="2345049" y="2922676"/>
              <a:ext cx="26151" cy="20345"/>
            </a:xfrm>
            <a:custGeom>
              <a:avLst/>
              <a:gdLst>
                <a:gd name="T0" fmla="*/ 20 w 38"/>
                <a:gd name="T1" fmla="*/ 0 h 28"/>
                <a:gd name="T2" fmla="*/ 38 w 38"/>
                <a:gd name="T3" fmla="*/ 20 h 28"/>
                <a:gd name="T4" fmla="*/ 36 w 38"/>
                <a:gd name="T5" fmla="*/ 24 h 28"/>
                <a:gd name="T6" fmla="*/ 26 w 38"/>
                <a:gd name="T7" fmla="*/ 28 h 28"/>
                <a:gd name="T8" fmla="*/ 24 w 38"/>
                <a:gd name="T9" fmla="*/ 20 h 28"/>
                <a:gd name="T10" fmla="*/ 20 w 38"/>
                <a:gd name="T11" fmla="*/ 18 h 28"/>
                <a:gd name="T12" fmla="*/ 14 w 38"/>
                <a:gd name="T13" fmla="*/ 20 h 28"/>
                <a:gd name="T14" fmla="*/ 8 w 38"/>
                <a:gd name="T15" fmla="*/ 16 h 28"/>
                <a:gd name="T16" fmla="*/ 6 w 38"/>
                <a:gd name="T17" fmla="*/ 12 h 28"/>
                <a:gd name="T18" fmla="*/ 10 w 38"/>
                <a:gd name="T19" fmla="*/ 10 h 28"/>
                <a:gd name="T20" fmla="*/ 2 w 38"/>
                <a:gd name="T21" fmla="*/ 14 h 28"/>
                <a:gd name="T22" fmla="*/ 0 w 38"/>
                <a:gd name="T23" fmla="*/ 10 h 28"/>
                <a:gd name="T24" fmla="*/ 10 w 38"/>
                <a:gd name="T25" fmla="*/ 6 h 28"/>
                <a:gd name="T26" fmla="*/ 20 w 38"/>
                <a:gd name="T2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28">
                  <a:moveTo>
                    <a:pt x="20" y="0"/>
                  </a:moveTo>
                  <a:lnTo>
                    <a:pt x="38" y="20"/>
                  </a:lnTo>
                  <a:lnTo>
                    <a:pt x="36" y="24"/>
                  </a:lnTo>
                  <a:lnTo>
                    <a:pt x="26" y="28"/>
                  </a:lnTo>
                  <a:lnTo>
                    <a:pt x="24" y="20"/>
                  </a:lnTo>
                  <a:lnTo>
                    <a:pt x="20" y="18"/>
                  </a:lnTo>
                  <a:lnTo>
                    <a:pt x="14" y="20"/>
                  </a:lnTo>
                  <a:lnTo>
                    <a:pt x="8" y="16"/>
                  </a:lnTo>
                  <a:lnTo>
                    <a:pt x="6" y="12"/>
                  </a:lnTo>
                  <a:lnTo>
                    <a:pt x="10" y="10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10" y="6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04" name="Freeform 98"/>
            <p:cNvSpPr>
              <a:spLocks/>
            </p:cNvSpPr>
            <p:nvPr/>
          </p:nvSpPr>
          <p:spPr bwMode="auto">
            <a:xfrm>
              <a:off x="1760092" y="2743929"/>
              <a:ext cx="34409" cy="63942"/>
            </a:xfrm>
            <a:custGeom>
              <a:avLst/>
              <a:gdLst>
                <a:gd name="T0" fmla="*/ 50 w 50"/>
                <a:gd name="T1" fmla="*/ 0 h 88"/>
                <a:gd name="T2" fmla="*/ 34 w 50"/>
                <a:gd name="T3" fmla="*/ 20 h 88"/>
                <a:gd name="T4" fmla="*/ 14 w 50"/>
                <a:gd name="T5" fmla="*/ 20 h 88"/>
                <a:gd name="T6" fmla="*/ 0 w 50"/>
                <a:gd name="T7" fmla="*/ 30 h 88"/>
                <a:gd name="T8" fmla="*/ 2 w 50"/>
                <a:gd name="T9" fmla="*/ 46 h 88"/>
                <a:gd name="T10" fmla="*/ 2 w 50"/>
                <a:gd name="T11" fmla="*/ 70 h 88"/>
                <a:gd name="T12" fmla="*/ 14 w 50"/>
                <a:gd name="T13" fmla="*/ 88 h 88"/>
                <a:gd name="T14" fmla="*/ 28 w 50"/>
                <a:gd name="T15" fmla="*/ 84 h 88"/>
                <a:gd name="T16" fmla="*/ 30 w 50"/>
                <a:gd name="T17" fmla="*/ 72 h 88"/>
                <a:gd name="T18" fmla="*/ 44 w 50"/>
                <a:gd name="T19" fmla="*/ 48 h 88"/>
                <a:gd name="T20" fmla="*/ 44 w 50"/>
                <a:gd name="T21" fmla="*/ 34 h 88"/>
                <a:gd name="T22" fmla="*/ 50 w 50"/>
                <a:gd name="T2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88">
                  <a:moveTo>
                    <a:pt x="50" y="0"/>
                  </a:moveTo>
                  <a:lnTo>
                    <a:pt x="34" y="20"/>
                  </a:lnTo>
                  <a:lnTo>
                    <a:pt x="14" y="20"/>
                  </a:lnTo>
                  <a:lnTo>
                    <a:pt x="0" y="30"/>
                  </a:lnTo>
                  <a:lnTo>
                    <a:pt x="2" y="46"/>
                  </a:lnTo>
                  <a:lnTo>
                    <a:pt x="2" y="70"/>
                  </a:lnTo>
                  <a:lnTo>
                    <a:pt x="14" y="88"/>
                  </a:lnTo>
                  <a:lnTo>
                    <a:pt x="28" y="84"/>
                  </a:lnTo>
                  <a:lnTo>
                    <a:pt x="30" y="72"/>
                  </a:lnTo>
                  <a:lnTo>
                    <a:pt x="44" y="48"/>
                  </a:lnTo>
                  <a:lnTo>
                    <a:pt x="44" y="34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05" name="Freeform 99"/>
            <p:cNvSpPr>
              <a:spLocks/>
            </p:cNvSpPr>
            <p:nvPr/>
          </p:nvSpPr>
          <p:spPr bwMode="auto">
            <a:xfrm>
              <a:off x="1760092" y="2743929"/>
              <a:ext cx="34409" cy="63942"/>
            </a:xfrm>
            <a:custGeom>
              <a:avLst/>
              <a:gdLst>
                <a:gd name="T0" fmla="*/ 50 w 50"/>
                <a:gd name="T1" fmla="*/ 0 h 88"/>
                <a:gd name="T2" fmla="*/ 34 w 50"/>
                <a:gd name="T3" fmla="*/ 20 h 88"/>
                <a:gd name="T4" fmla="*/ 14 w 50"/>
                <a:gd name="T5" fmla="*/ 20 h 88"/>
                <a:gd name="T6" fmla="*/ 0 w 50"/>
                <a:gd name="T7" fmla="*/ 30 h 88"/>
                <a:gd name="T8" fmla="*/ 2 w 50"/>
                <a:gd name="T9" fmla="*/ 46 h 88"/>
                <a:gd name="T10" fmla="*/ 2 w 50"/>
                <a:gd name="T11" fmla="*/ 70 h 88"/>
                <a:gd name="T12" fmla="*/ 14 w 50"/>
                <a:gd name="T13" fmla="*/ 88 h 88"/>
                <a:gd name="T14" fmla="*/ 28 w 50"/>
                <a:gd name="T15" fmla="*/ 84 h 88"/>
                <a:gd name="T16" fmla="*/ 30 w 50"/>
                <a:gd name="T17" fmla="*/ 72 h 88"/>
                <a:gd name="T18" fmla="*/ 44 w 50"/>
                <a:gd name="T19" fmla="*/ 48 h 88"/>
                <a:gd name="T20" fmla="*/ 44 w 50"/>
                <a:gd name="T21" fmla="*/ 34 h 88"/>
                <a:gd name="T22" fmla="*/ 50 w 50"/>
                <a:gd name="T2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" h="88">
                  <a:moveTo>
                    <a:pt x="50" y="0"/>
                  </a:moveTo>
                  <a:lnTo>
                    <a:pt x="34" y="20"/>
                  </a:lnTo>
                  <a:lnTo>
                    <a:pt x="14" y="20"/>
                  </a:lnTo>
                  <a:lnTo>
                    <a:pt x="0" y="30"/>
                  </a:lnTo>
                  <a:lnTo>
                    <a:pt x="2" y="46"/>
                  </a:lnTo>
                  <a:lnTo>
                    <a:pt x="2" y="70"/>
                  </a:lnTo>
                  <a:lnTo>
                    <a:pt x="14" y="88"/>
                  </a:lnTo>
                  <a:lnTo>
                    <a:pt x="28" y="84"/>
                  </a:lnTo>
                  <a:lnTo>
                    <a:pt x="30" y="72"/>
                  </a:lnTo>
                  <a:lnTo>
                    <a:pt x="44" y="48"/>
                  </a:lnTo>
                  <a:lnTo>
                    <a:pt x="44" y="34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06" name="Freeform 100"/>
            <p:cNvSpPr>
              <a:spLocks/>
            </p:cNvSpPr>
            <p:nvPr/>
          </p:nvSpPr>
          <p:spPr bwMode="auto">
            <a:xfrm>
              <a:off x="1407741" y="2332667"/>
              <a:ext cx="386760" cy="392370"/>
            </a:xfrm>
            <a:custGeom>
              <a:avLst/>
              <a:gdLst>
                <a:gd name="T0" fmla="*/ 8 w 562"/>
                <a:gd name="T1" fmla="*/ 106 h 540"/>
                <a:gd name="T2" fmla="*/ 8 w 562"/>
                <a:gd name="T3" fmla="*/ 126 h 540"/>
                <a:gd name="T4" fmla="*/ 54 w 562"/>
                <a:gd name="T5" fmla="*/ 160 h 540"/>
                <a:gd name="T6" fmla="*/ 88 w 562"/>
                <a:gd name="T7" fmla="*/ 180 h 540"/>
                <a:gd name="T8" fmla="*/ 86 w 562"/>
                <a:gd name="T9" fmla="*/ 210 h 540"/>
                <a:gd name="T10" fmla="*/ 106 w 562"/>
                <a:gd name="T11" fmla="*/ 252 h 540"/>
                <a:gd name="T12" fmla="*/ 116 w 562"/>
                <a:gd name="T13" fmla="*/ 310 h 540"/>
                <a:gd name="T14" fmla="*/ 96 w 562"/>
                <a:gd name="T15" fmla="*/ 310 h 540"/>
                <a:gd name="T16" fmla="*/ 84 w 562"/>
                <a:gd name="T17" fmla="*/ 340 h 540"/>
                <a:gd name="T18" fmla="*/ 72 w 562"/>
                <a:gd name="T19" fmla="*/ 370 h 540"/>
                <a:gd name="T20" fmla="*/ 42 w 562"/>
                <a:gd name="T21" fmla="*/ 422 h 540"/>
                <a:gd name="T22" fmla="*/ 42 w 562"/>
                <a:gd name="T23" fmla="*/ 446 h 540"/>
                <a:gd name="T24" fmla="*/ 118 w 562"/>
                <a:gd name="T25" fmla="*/ 496 h 540"/>
                <a:gd name="T26" fmla="*/ 182 w 562"/>
                <a:gd name="T27" fmla="*/ 524 h 540"/>
                <a:gd name="T28" fmla="*/ 238 w 562"/>
                <a:gd name="T29" fmla="*/ 540 h 540"/>
                <a:gd name="T30" fmla="*/ 260 w 562"/>
                <a:gd name="T31" fmla="*/ 498 h 540"/>
                <a:gd name="T32" fmla="*/ 310 w 562"/>
                <a:gd name="T33" fmla="*/ 480 h 540"/>
                <a:gd name="T34" fmla="*/ 346 w 562"/>
                <a:gd name="T35" fmla="*/ 498 h 540"/>
                <a:gd name="T36" fmla="*/ 398 w 562"/>
                <a:gd name="T37" fmla="*/ 524 h 540"/>
                <a:gd name="T38" fmla="*/ 444 w 562"/>
                <a:gd name="T39" fmla="*/ 514 h 540"/>
                <a:gd name="T40" fmla="*/ 478 w 562"/>
                <a:gd name="T41" fmla="*/ 480 h 540"/>
                <a:gd name="T42" fmla="*/ 458 w 562"/>
                <a:gd name="T43" fmla="*/ 464 h 540"/>
                <a:gd name="T44" fmla="*/ 454 w 562"/>
                <a:gd name="T45" fmla="*/ 416 h 540"/>
                <a:gd name="T46" fmla="*/ 466 w 562"/>
                <a:gd name="T47" fmla="*/ 370 h 540"/>
                <a:gd name="T48" fmla="*/ 466 w 562"/>
                <a:gd name="T49" fmla="*/ 328 h 540"/>
                <a:gd name="T50" fmla="*/ 442 w 562"/>
                <a:gd name="T51" fmla="*/ 330 h 540"/>
                <a:gd name="T52" fmla="*/ 432 w 562"/>
                <a:gd name="T53" fmla="*/ 322 h 540"/>
                <a:gd name="T54" fmla="*/ 458 w 562"/>
                <a:gd name="T55" fmla="*/ 292 h 540"/>
                <a:gd name="T56" fmla="*/ 498 w 562"/>
                <a:gd name="T57" fmla="*/ 256 h 540"/>
                <a:gd name="T58" fmla="*/ 518 w 562"/>
                <a:gd name="T59" fmla="*/ 236 h 540"/>
                <a:gd name="T60" fmla="*/ 534 w 562"/>
                <a:gd name="T61" fmla="*/ 200 h 540"/>
                <a:gd name="T62" fmla="*/ 562 w 562"/>
                <a:gd name="T63" fmla="*/ 170 h 540"/>
                <a:gd name="T64" fmla="*/ 530 w 562"/>
                <a:gd name="T65" fmla="*/ 154 h 540"/>
                <a:gd name="T66" fmla="*/ 490 w 562"/>
                <a:gd name="T67" fmla="*/ 142 h 540"/>
                <a:gd name="T68" fmla="*/ 464 w 562"/>
                <a:gd name="T69" fmla="*/ 118 h 540"/>
                <a:gd name="T70" fmla="*/ 428 w 562"/>
                <a:gd name="T71" fmla="*/ 86 h 540"/>
                <a:gd name="T72" fmla="*/ 396 w 562"/>
                <a:gd name="T73" fmla="*/ 56 h 540"/>
                <a:gd name="T74" fmla="*/ 374 w 562"/>
                <a:gd name="T75" fmla="*/ 22 h 540"/>
                <a:gd name="T76" fmla="*/ 326 w 562"/>
                <a:gd name="T77" fmla="*/ 2 h 540"/>
                <a:gd name="T78" fmla="*/ 306 w 562"/>
                <a:gd name="T79" fmla="*/ 26 h 540"/>
                <a:gd name="T80" fmla="*/ 234 w 562"/>
                <a:gd name="T81" fmla="*/ 64 h 540"/>
                <a:gd name="T82" fmla="*/ 196 w 562"/>
                <a:gd name="T83" fmla="*/ 76 h 540"/>
                <a:gd name="T84" fmla="*/ 162 w 562"/>
                <a:gd name="T85" fmla="*/ 56 h 540"/>
                <a:gd name="T86" fmla="*/ 146 w 562"/>
                <a:gd name="T87" fmla="*/ 40 h 540"/>
                <a:gd name="T88" fmla="*/ 150 w 562"/>
                <a:gd name="T89" fmla="*/ 60 h 540"/>
                <a:gd name="T90" fmla="*/ 144 w 562"/>
                <a:gd name="T91" fmla="*/ 82 h 540"/>
                <a:gd name="T92" fmla="*/ 134 w 562"/>
                <a:gd name="T93" fmla="*/ 100 h 540"/>
                <a:gd name="T94" fmla="*/ 102 w 562"/>
                <a:gd name="T95" fmla="*/ 92 h 540"/>
                <a:gd name="T96" fmla="*/ 68 w 562"/>
                <a:gd name="T97" fmla="*/ 70 h 540"/>
                <a:gd name="T98" fmla="*/ 42 w 562"/>
                <a:gd name="T99" fmla="*/ 78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62" h="540">
                  <a:moveTo>
                    <a:pt x="8" y="76"/>
                  </a:moveTo>
                  <a:lnTo>
                    <a:pt x="14" y="90"/>
                  </a:lnTo>
                  <a:lnTo>
                    <a:pt x="8" y="100"/>
                  </a:lnTo>
                  <a:lnTo>
                    <a:pt x="8" y="106"/>
                  </a:lnTo>
                  <a:lnTo>
                    <a:pt x="0" y="102"/>
                  </a:lnTo>
                  <a:lnTo>
                    <a:pt x="2" y="108"/>
                  </a:lnTo>
                  <a:lnTo>
                    <a:pt x="2" y="116"/>
                  </a:lnTo>
                  <a:lnTo>
                    <a:pt x="8" y="126"/>
                  </a:lnTo>
                  <a:lnTo>
                    <a:pt x="22" y="122"/>
                  </a:lnTo>
                  <a:lnTo>
                    <a:pt x="38" y="140"/>
                  </a:lnTo>
                  <a:lnTo>
                    <a:pt x="44" y="152"/>
                  </a:lnTo>
                  <a:lnTo>
                    <a:pt x="54" y="160"/>
                  </a:lnTo>
                  <a:lnTo>
                    <a:pt x="66" y="160"/>
                  </a:lnTo>
                  <a:lnTo>
                    <a:pt x="72" y="170"/>
                  </a:lnTo>
                  <a:lnTo>
                    <a:pt x="82" y="180"/>
                  </a:lnTo>
                  <a:lnTo>
                    <a:pt x="88" y="180"/>
                  </a:lnTo>
                  <a:lnTo>
                    <a:pt x="90" y="186"/>
                  </a:lnTo>
                  <a:lnTo>
                    <a:pt x="86" y="194"/>
                  </a:lnTo>
                  <a:lnTo>
                    <a:pt x="86" y="202"/>
                  </a:lnTo>
                  <a:lnTo>
                    <a:pt x="86" y="210"/>
                  </a:lnTo>
                  <a:lnTo>
                    <a:pt x="82" y="224"/>
                  </a:lnTo>
                  <a:lnTo>
                    <a:pt x="94" y="236"/>
                  </a:lnTo>
                  <a:lnTo>
                    <a:pt x="106" y="246"/>
                  </a:lnTo>
                  <a:lnTo>
                    <a:pt x="106" y="252"/>
                  </a:lnTo>
                  <a:lnTo>
                    <a:pt x="104" y="276"/>
                  </a:lnTo>
                  <a:lnTo>
                    <a:pt x="102" y="294"/>
                  </a:lnTo>
                  <a:lnTo>
                    <a:pt x="104" y="302"/>
                  </a:lnTo>
                  <a:lnTo>
                    <a:pt x="116" y="310"/>
                  </a:lnTo>
                  <a:lnTo>
                    <a:pt x="116" y="326"/>
                  </a:lnTo>
                  <a:lnTo>
                    <a:pt x="116" y="336"/>
                  </a:lnTo>
                  <a:lnTo>
                    <a:pt x="102" y="322"/>
                  </a:lnTo>
                  <a:lnTo>
                    <a:pt x="96" y="310"/>
                  </a:lnTo>
                  <a:lnTo>
                    <a:pt x="92" y="314"/>
                  </a:lnTo>
                  <a:lnTo>
                    <a:pt x="94" y="322"/>
                  </a:lnTo>
                  <a:lnTo>
                    <a:pt x="90" y="330"/>
                  </a:lnTo>
                  <a:lnTo>
                    <a:pt x="84" y="340"/>
                  </a:lnTo>
                  <a:lnTo>
                    <a:pt x="80" y="346"/>
                  </a:lnTo>
                  <a:lnTo>
                    <a:pt x="86" y="352"/>
                  </a:lnTo>
                  <a:lnTo>
                    <a:pt x="80" y="360"/>
                  </a:lnTo>
                  <a:lnTo>
                    <a:pt x="72" y="370"/>
                  </a:lnTo>
                  <a:lnTo>
                    <a:pt x="70" y="378"/>
                  </a:lnTo>
                  <a:lnTo>
                    <a:pt x="64" y="386"/>
                  </a:lnTo>
                  <a:lnTo>
                    <a:pt x="50" y="404"/>
                  </a:lnTo>
                  <a:lnTo>
                    <a:pt x="42" y="422"/>
                  </a:lnTo>
                  <a:lnTo>
                    <a:pt x="42" y="424"/>
                  </a:lnTo>
                  <a:lnTo>
                    <a:pt x="46" y="430"/>
                  </a:lnTo>
                  <a:lnTo>
                    <a:pt x="40" y="438"/>
                  </a:lnTo>
                  <a:lnTo>
                    <a:pt x="42" y="446"/>
                  </a:lnTo>
                  <a:lnTo>
                    <a:pt x="50" y="460"/>
                  </a:lnTo>
                  <a:lnTo>
                    <a:pt x="86" y="478"/>
                  </a:lnTo>
                  <a:lnTo>
                    <a:pt x="110" y="498"/>
                  </a:lnTo>
                  <a:lnTo>
                    <a:pt x="118" y="496"/>
                  </a:lnTo>
                  <a:lnTo>
                    <a:pt x="130" y="490"/>
                  </a:lnTo>
                  <a:lnTo>
                    <a:pt x="172" y="508"/>
                  </a:lnTo>
                  <a:lnTo>
                    <a:pt x="178" y="514"/>
                  </a:lnTo>
                  <a:lnTo>
                    <a:pt x="182" y="524"/>
                  </a:lnTo>
                  <a:lnTo>
                    <a:pt x="190" y="528"/>
                  </a:lnTo>
                  <a:lnTo>
                    <a:pt x="200" y="530"/>
                  </a:lnTo>
                  <a:lnTo>
                    <a:pt x="214" y="538"/>
                  </a:lnTo>
                  <a:lnTo>
                    <a:pt x="238" y="540"/>
                  </a:lnTo>
                  <a:lnTo>
                    <a:pt x="246" y="530"/>
                  </a:lnTo>
                  <a:lnTo>
                    <a:pt x="248" y="520"/>
                  </a:lnTo>
                  <a:lnTo>
                    <a:pt x="248" y="508"/>
                  </a:lnTo>
                  <a:lnTo>
                    <a:pt x="260" y="498"/>
                  </a:lnTo>
                  <a:lnTo>
                    <a:pt x="280" y="488"/>
                  </a:lnTo>
                  <a:lnTo>
                    <a:pt x="290" y="486"/>
                  </a:lnTo>
                  <a:lnTo>
                    <a:pt x="300" y="480"/>
                  </a:lnTo>
                  <a:lnTo>
                    <a:pt x="310" y="480"/>
                  </a:lnTo>
                  <a:lnTo>
                    <a:pt x="322" y="488"/>
                  </a:lnTo>
                  <a:lnTo>
                    <a:pt x="330" y="496"/>
                  </a:lnTo>
                  <a:lnTo>
                    <a:pt x="338" y="496"/>
                  </a:lnTo>
                  <a:lnTo>
                    <a:pt x="346" y="498"/>
                  </a:lnTo>
                  <a:lnTo>
                    <a:pt x="364" y="500"/>
                  </a:lnTo>
                  <a:lnTo>
                    <a:pt x="374" y="514"/>
                  </a:lnTo>
                  <a:lnTo>
                    <a:pt x="384" y="520"/>
                  </a:lnTo>
                  <a:lnTo>
                    <a:pt x="398" y="524"/>
                  </a:lnTo>
                  <a:lnTo>
                    <a:pt x="410" y="532"/>
                  </a:lnTo>
                  <a:lnTo>
                    <a:pt x="416" y="532"/>
                  </a:lnTo>
                  <a:lnTo>
                    <a:pt x="434" y="516"/>
                  </a:lnTo>
                  <a:lnTo>
                    <a:pt x="444" y="514"/>
                  </a:lnTo>
                  <a:lnTo>
                    <a:pt x="452" y="508"/>
                  </a:lnTo>
                  <a:lnTo>
                    <a:pt x="464" y="498"/>
                  </a:lnTo>
                  <a:lnTo>
                    <a:pt x="480" y="498"/>
                  </a:lnTo>
                  <a:lnTo>
                    <a:pt x="478" y="480"/>
                  </a:lnTo>
                  <a:lnTo>
                    <a:pt x="476" y="474"/>
                  </a:lnTo>
                  <a:lnTo>
                    <a:pt x="468" y="464"/>
                  </a:lnTo>
                  <a:lnTo>
                    <a:pt x="464" y="466"/>
                  </a:lnTo>
                  <a:lnTo>
                    <a:pt x="458" y="464"/>
                  </a:lnTo>
                  <a:lnTo>
                    <a:pt x="452" y="456"/>
                  </a:lnTo>
                  <a:lnTo>
                    <a:pt x="450" y="438"/>
                  </a:lnTo>
                  <a:lnTo>
                    <a:pt x="462" y="426"/>
                  </a:lnTo>
                  <a:lnTo>
                    <a:pt x="454" y="416"/>
                  </a:lnTo>
                  <a:lnTo>
                    <a:pt x="454" y="410"/>
                  </a:lnTo>
                  <a:lnTo>
                    <a:pt x="470" y="394"/>
                  </a:lnTo>
                  <a:lnTo>
                    <a:pt x="470" y="390"/>
                  </a:lnTo>
                  <a:lnTo>
                    <a:pt x="466" y="370"/>
                  </a:lnTo>
                  <a:lnTo>
                    <a:pt x="476" y="360"/>
                  </a:lnTo>
                  <a:lnTo>
                    <a:pt x="468" y="350"/>
                  </a:lnTo>
                  <a:lnTo>
                    <a:pt x="468" y="342"/>
                  </a:lnTo>
                  <a:lnTo>
                    <a:pt x="466" y="328"/>
                  </a:lnTo>
                  <a:lnTo>
                    <a:pt x="464" y="324"/>
                  </a:lnTo>
                  <a:lnTo>
                    <a:pt x="454" y="324"/>
                  </a:lnTo>
                  <a:lnTo>
                    <a:pt x="444" y="326"/>
                  </a:lnTo>
                  <a:lnTo>
                    <a:pt x="442" y="330"/>
                  </a:lnTo>
                  <a:lnTo>
                    <a:pt x="436" y="334"/>
                  </a:lnTo>
                  <a:lnTo>
                    <a:pt x="428" y="336"/>
                  </a:lnTo>
                  <a:lnTo>
                    <a:pt x="426" y="330"/>
                  </a:lnTo>
                  <a:lnTo>
                    <a:pt x="432" y="322"/>
                  </a:lnTo>
                  <a:lnTo>
                    <a:pt x="434" y="316"/>
                  </a:lnTo>
                  <a:lnTo>
                    <a:pt x="434" y="310"/>
                  </a:lnTo>
                  <a:lnTo>
                    <a:pt x="450" y="296"/>
                  </a:lnTo>
                  <a:lnTo>
                    <a:pt x="458" y="292"/>
                  </a:lnTo>
                  <a:lnTo>
                    <a:pt x="458" y="282"/>
                  </a:lnTo>
                  <a:lnTo>
                    <a:pt x="466" y="272"/>
                  </a:lnTo>
                  <a:lnTo>
                    <a:pt x="490" y="256"/>
                  </a:lnTo>
                  <a:lnTo>
                    <a:pt x="498" y="256"/>
                  </a:lnTo>
                  <a:lnTo>
                    <a:pt x="500" y="248"/>
                  </a:lnTo>
                  <a:lnTo>
                    <a:pt x="508" y="240"/>
                  </a:lnTo>
                  <a:lnTo>
                    <a:pt x="514" y="240"/>
                  </a:lnTo>
                  <a:lnTo>
                    <a:pt x="518" y="236"/>
                  </a:lnTo>
                  <a:lnTo>
                    <a:pt x="522" y="234"/>
                  </a:lnTo>
                  <a:lnTo>
                    <a:pt x="528" y="224"/>
                  </a:lnTo>
                  <a:lnTo>
                    <a:pt x="534" y="210"/>
                  </a:lnTo>
                  <a:lnTo>
                    <a:pt x="534" y="200"/>
                  </a:lnTo>
                  <a:lnTo>
                    <a:pt x="534" y="192"/>
                  </a:lnTo>
                  <a:lnTo>
                    <a:pt x="542" y="182"/>
                  </a:lnTo>
                  <a:lnTo>
                    <a:pt x="556" y="176"/>
                  </a:lnTo>
                  <a:lnTo>
                    <a:pt x="562" y="170"/>
                  </a:lnTo>
                  <a:lnTo>
                    <a:pt x="562" y="166"/>
                  </a:lnTo>
                  <a:lnTo>
                    <a:pt x="550" y="158"/>
                  </a:lnTo>
                  <a:lnTo>
                    <a:pt x="546" y="156"/>
                  </a:lnTo>
                  <a:lnTo>
                    <a:pt x="530" y="154"/>
                  </a:lnTo>
                  <a:lnTo>
                    <a:pt x="510" y="152"/>
                  </a:lnTo>
                  <a:lnTo>
                    <a:pt x="504" y="150"/>
                  </a:lnTo>
                  <a:lnTo>
                    <a:pt x="498" y="148"/>
                  </a:lnTo>
                  <a:lnTo>
                    <a:pt x="490" y="142"/>
                  </a:lnTo>
                  <a:lnTo>
                    <a:pt x="484" y="130"/>
                  </a:lnTo>
                  <a:lnTo>
                    <a:pt x="480" y="124"/>
                  </a:lnTo>
                  <a:lnTo>
                    <a:pt x="472" y="120"/>
                  </a:lnTo>
                  <a:lnTo>
                    <a:pt x="464" y="118"/>
                  </a:lnTo>
                  <a:lnTo>
                    <a:pt x="460" y="116"/>
                  </a:lnTo>
                  <a:lnTo>
                    <a:pt x="450" y="108"/>
                  </a:lnTo>
                  <a:lnTo>
                    <a:pt x="436" y="96"/>
                  </a:lnTo>
                  <a:lnTo>
                    <a:pt x="428" y="86"/>
                  </a:lnTo>
                  <a:lnTo>
                    <a:pt x="418" y="84"/>
                  </a:lnTo>
                  <a:lnTo>
                    <a:pt x="412" y="80"/>
                  </a:lnTo>
                  <a:lnTo>
                    <a:pt x="408" y="68"/>
                  </a:lnTo>
                  <a:lnTo>
                    <a:pt x="396" y="56"/>
                  </a:lnTo>
                  <a:lnTo>
                    <a:pt x="394" y="46"/>
                  </a:lnTo>
                  <a:lnTo>
                    <a:pt x="384" y="36"/>
                  </a:lnTo>
                  <a:lnTo>
                    <a:pt x="380" y="28"/>
                  </a:lnTo>
                  <a:lnTo>
                    <a:pt x="374" y="22"/>
                  </a:lnTo>
                  <a:lnTo>
                    <a:pt x="364" y="14"/>
                  </a:lnTo>
                  <a:lnTo>
                    <a:pt x="354" y="4"/>
                  </a:lnTo>
                  <a:lnTo>
                    <a:pt x="346" y="0"/>
                  </a:lnTo>
                  <a:lnTo>
                    <a:pt x="326" y="2"/>
                  </a:lnTo>
                  <a:lnTo>
                    <a:pt x="318" y="2"/>
                  </a:lnTo>
                  <a:lnTo>
                    <a:pt x="308" y="10"/>
                  </a:lnTo>
                  <a:lnTo>
                    <a:pt x="314" y="16"/>
                  </a:lnTo>
                  <a:lnTo>
                    <a:pt x="306" y="26"/>
                  </a:lnTo>
                  <a:lnTo>
                    <a:pt x="284" y="50"/>
                  </a:lnTo>
                  <a:lnTo>
                    <a:pt x="274" y="56"/>
                  </a:lnTo>
                  <a:lnTo>
                    <a:pt x="246" y="60"/>
                  </a:lnTo>
                  <a:lnTo>
                    <a:pt x="234" y="64"/>
                  </a:lnTo>
                  <a:lnTo>
                    <a:pt x="226" y="70"/>
                  </a:lnTo>
                  <a:lnTo>
                    <a:pt x="224" y="76"/>
                  </a:lnTo>
                  <a:lnTo>
                    <a:pt x="212" y="72"/>
                  </a:lnTo>
                  <a:lnTo>
                    <a:pt x="196" y="76"/>
                  </a:lnTo>
                  <a:lnTo>
                    <a:pt x="184" y="74"/>
                  </a:lnTo>
                  <a:lnTo>
                    <a:pt x="174" y="68"/>
                  </a:lnTo>
                  <a:lnTo>
                    <a:pt x="168" y="60"/>
                  </a:lnTo>
                  <a:lnTo>
                    <a:pt x="162" y="56"/>
                  </a:lnTo>
                  <a:lnTo>
                    <a:pt x="166" y="50"/>
                  </a:lnTo>
                  <a:lnTo>
                    <a:pt x="158" y="42"/>
                  </a:lnTo>
                  <a:lnTo>
                    <a:pt x="152" y="42"/>
                  </a:lnTo>
                  <a:lnTo>
                    <a:pt x="146" y="40"/>
                  </a:lnTo>
                  <a:lnTo>
                    <a:pt x="144" y="42"/>
                  </a:lnTo>
                  <a:lnTo>
                    <a:pt x="150" y="48"/>
                  </a:lnTo>
                  <a:lnTo>
                    <a:pt x="148" y="52"/>
                  </a:lnTo>
                  <a:lnTo>
                    <a:pt x="150" y="60"/>
                  </a:lnTo>
                  <a:lnTo>
                    <a:pt x="152" y="70"/>
                  </a:lnTo>
                  <a:lnTo>
                    <a:pt x="152" y="76"/>
                  </a:lnTo>
                  <a:lnTo>
                    <a:pt x="150" y="78"/>
                  </a:lnTo>
                  <a:lnTo>
                    <a:pt x="144" y="82"/>
                  </a:lnTo>
                  <a:lnTo>
                    <a:pt x="144" y="88"/>
                  </a:lnTo>
                  <a:lnTo>
                    <a:pt x="144" y="96"/>
                  </a:lnTo>
                  <a:lnTo>
                    <a:pt x="142" y="100"/>
                  </a:lnTo>
                  <a:lnTo>
                    <a:pt x="134" y="100"/>
                  </a:lnTo>
                  <a:lnTo>
                    <a:pt x="124" y="94"/>
                  </a:lnTo>
                  <a:lnTo>
                    <a:pt x="118" y="100"/>
                  </a:lnTo>
                  <a:lnTo>
                    <a:pt x="108" y="92"/>
                  </a:lnTo>
                  <a:lnTo>
                    <a:pt x="102" y="92"/>
                  </a:lnTo>
                  <a:lnTo>
                    <a:pt x="96" y="96"/>
                  </a:lnTo>
                  <a:lnTo>
                    <a:pt x="90" y="96"/>
                  </a:lnTo>
                  <a:lnTo>
                    <a:pt x="90" y="92"/>
                  </a:lnTo>
                  <a:lnTo>
                    <a:pt x="68" y="70"/>
                  </a:lnTo>
                  <a:lnTo>
                    <a:pt x="62" y="68"/>
                  </a:lnTo>
                  <a:lnTo>
                    <a:pt x="58" y="72"/>
                  </a:lnTo>
                  <a:lnTo>
                    <a:pt x="48" y="76"/>
                  </a:lnTo>
                  <a:lnTo>
                    <a:pt x="42" y="78"/>
                  </a:lnTo>
                  <a:lnTo>
                    <a:pt x="36" y="72"/>
                  </a:lnTo>
                  <a:lnTo>
                    <a:pt x="20" y="72"/>
                  </a:lnTo>
                  <a:lnTo>
                    <a:pt x="8" y="7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07" name="Freeform 101"/>
            <p:cNvSpPr>
              <a:spLocks/>
            </p:cNvSpPr>
            <p:nvPr/>
          </p:nvSpPr>
          <p:spPr bwMode="auto">
            <a:xfrm>
              <a:off x="1407741" y="2332667"/>
              <a:ext cx="386760" cy="392370"/>
            </a:xfrm>
            <a:custGeom>
              <a:avLst/>
              <a:gdLst>
                <a:gd name="T0" fmla="*/ 8 w 562"/>
                <a:gd name="T1" fmla="*/ 106 h 540"/>
                <a:gd name="T2" fmla="*/ 8 w 562"/>
                <a:gd name="T3" fmla="*/ 126 h 540"/>
                <a:gd name="T4" fmla="*/ 54 w 562"/>
                <a:gd name="T5" fmla="*/ 160 h 540"/>
                <a:gd name="T6" fmla="*/ 88 w 562"/>
                <a:gd name="T7" fmla="*/ 180 h 540"/>
                <a:gd name="T8" fmla="*/ 86 w 562"/>
                <a:gd name="T9" fmla="*/ 210 h 540"/>
                <a:gd name="T10" fmla="*/ 106 w 562"/>
                <a:gd name="T11" fmla="*/ 252 h 540"/>
                <a:gd name="T12" fmla="*/ 116 w 562"/>
                <a:gd name="T13" fmla="*/ 310 h 540"/>
                <a:gd name="T14" fmla="*/ 96 w 562"/>
                <a:gd name="T15" fmla="*/ 310 h 540"/>
                <a:gd name="T16" fmla="*/ 84 w 562"/>
                <a:gd name="T17" fmla="*/ 340 h 540"/>
                <a:gd name="T18" fmla="*/ 72 w 562"/>
                <a:gd name="T19" fmla="*/ 370 h 540"/>
                <a:gd name="T20" fmla="*/ 42 w 562"/>
                <a:gd name="T21" fmla="*/ 422 h 540"/>
                <a:gd name="T22" fmla="*/ 42 w 562"/>
                <a:gd name="T23" fmla="*/ 446 h 540"/>
                <a:gd name="T24" fmla="*/ 118 w 562"/>
                <a:gd name="T25" fmla="*/ 496 h 540"/>
                <a:gd name="T26" fmla="*/ 182 w 562"/>
                <a:gd name="T27" fmla="*/ 524 h 540"/>
                <a:gd name="T28" fmla="*/ 238 w 562"/>
                <a:gd name="T29" fmla="*/ 540 h 540"/>
                <a:gd name="T30" fmla="*/ 260 w 562"/>
                <a:gd name="T31" fmla="*/ 498 h 540"/>
                <a:gd name="T32" fmla="*/ 310 w 562"/>
                <a:gd name="T33" fmla="*/ 480 h 540"/>
                <a:gd name="T34" fmla="*/ 346 w 562"/>
                <a:gd name="T35" fmla="*/ 498 h 540"/>
                <a:gd name="T36" fmla="*/ 398 w 562"/>
                <a:gd name="T37" fmla="*/ 524 h 540"/>
                <a:gd name="T38" fmla="*/ 444 w 562"/>
                <a:gd name="T39" fmla="*/ 514 h 540"/>
                <a:gd name="T40" fmla="*/ 478 w 562"/>
                <a:gd name="T41" fmla="*/ 480 h 540"/>
                <a:gd name="T42" fmla="*/ 458 w 562"/>
                <a:gd name="T43" fmla="*/ 464 h 540"/>
                <a:gd name="T44" fmla="*/ 454 w 562"/>
                <a:gd name="T45" fmla="*/ 416 h 540"/>
                <a:gd name="T46" fmla="*/ 466 w 562"/>
                <a:gd name="T47" fmla="*/ 370 h 540"/>
                <a:gd name="T48" fmla="*/ 466 w 562"/>
                <a:gd name="T49" fmla="*/ 328 h 540"/>
                <a:gd name="T50" fmla="*/ 442 w 562"/>
                <a:gd name="T51" fmla="*/ 330 h 540"/>
                <a:gd name="T52" fmla="*/ 432 w 562"/>
                <a:gd name="T53" fmla="*/ 322 h 540"/>
                <a:gd name="T54" fmla="*/ 458 w 562"/>
                <a:gd name="T55" fmla="*/ 292 h 540"/>
                <a:gd name="T56" fmla="*/ 498 w 562"/>
                <a:gd name="T57" fmla="*/ 256 h 540"/>
                <a:gd name="T58" fmla="*/ 518 w 562"/>
                <a:gd name="T59" fmla="*/ 236 h 540"/>
                <a:gd name="T60" fmla="*/ 534 w 562"/>
                <a:gd name="T61" fmla="*/ 200 h 540"/>
                <a:gd name="T62" fmla="*/ 562 w 562"/>
                <a:gd name="T63" fmla="*/ 170 h 540"/>
                <a:gd name="T64" fmla="*/ 530 w 562"/>
                <a:gd name="T65" fmla="*/ 154 h 540"/>
                <a:gd name="T66" fmla="*/ 490 w 562"/>
                <a:gd name="T67" fmla="*/ 142 h 540"/>
                <a:gd name="T68" fmla="*/ 464 w 562"/>
                <a:gd name="T69" fmla="*/ 118 h 540"/>
                <a:gd name="T70" fmla="*/ 428 w 562"/>
                <a:gd name="T71" fmla="*/ 86 h 540"/>
                <a:gd name="T72" fmla="*/ 396 w 562"/>
                <a:gd name="T73" fmla="*/ 56 h 540"/>
                <a:gd name="T74" fmla="*/ 374 w 562"/>
                <a:gd name="T75" fmla="*/ 22 h 540"/>
                <a:gd name="T76" fmla="*/ 326 w 562"/>
                <a:gd name="T77" fmla="*/ 2 h 540"/>
                <a:gd name="T78" fmla="*/ 306 w 562"/>
                <a:gd name="T79" fmla="*/ 26 h 540"/>
                <a:gd name="T80" fmla="*/ 234 w 562"/>
                <a:gd name="T81" fmla="*/ 64 h 540"/>
                <a:gd name="T82" fmla="*/ 196 w 562"/>
                <a:gd name="T83" fmla="*/ 76 h 540"/>
                <a:gd name="T84" fmla="*/ 162 w 562"/>
                <a:gd name="T85" fmla="*/ 56 h 540"/>
                <a:gd name="T86" fmla="*/ 146 w 562"/>
                <a:gd name="T87" fmla="*/ 40 h 540"/>
                <a:gd name="T88" fmla="*/ 150 w 562"/>
                <a:gd name="T89" fmla="*/ 60 h 540"/>
                <a:gd name="T90" fmla="*/ 144 w 562"/>
                <a:gd name="T91" fmla="*/ 82 h 540"/>
                <a:gd name="T92" fmla="*/ 134 w 562"/>
                <a:gd name="T93" fmla="*/ 100 h 540"/>
                <a:gd name="T94" fmla="*/ 102 w 562"/>
                <a:gd name="T95" fmla="*/ 92 h 540"/>
                <a:gd name="T96" fmla="*/ 68 w 562"/>
                <a:gd name="T97" fmla="*/ 70 h 540"/>
                <a:gd name="T98" fmla="*/ 42 w 562"/>
                <a:gd name="T99" fmla="*/ 78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62" h="540">
                  <a:moveTo>
                    <a:pt x="8" y="76"/>
                  </a:moveTo>
                  <a:lnTo>
                    <a:pt x="14" y="90"/>
                  </a:lnTo>
                  <a:lnTo>
                    <a:pt x="8" y="100"/>
                  </a:lnTo>
                  <a:lnTo>
                    <a:pt x="8" y="106"/>
                  </a:lnTo>
                  <a:lnTo>
                    <a:pt x="0" y="102"/>
                  </a:lnTo>
                  <a:lnTo>
                    <a:pt x="2" y="108"/>
                  </a:lnTo>
                  <a:lnTo>
                    <a:pt x="2" y="116"/>
                  </a:lnTo>
                  <a:lnTo>
                    <a:pt x="8" y="126"/>
                  </a:lnTo>
                  <a:lnTo>
                    <a:pt x="22" y="122"/>
                  </a:lnTo>
                  <a:lnTo>
                    <a:pt x="38" y="140"/>
                  </a:lnTo>
                  <a:lnTo>
                    <a:pt x="44" y="152"/>
                  </a:lnTo>
                  <a:lnTo>
                    <a:pt x="54" y="160"/>
                  </a:lnTo>
                  <a:lnTo>
                    <a:pt x="66" y="160"/>
                  </a:lnTo>
                  <a:lnTo>
                    <a:pt x="72" y="170"/>
                  </a:lnTo>
                  <a:lnTo>
                    <a:pt x="82" y="180"/>
                  </a:lnTo>
                  <a:lnTo>
                    <a:pt x="88" y="180"/>
                  </a:lnTo>
                  <a:lnTo>
                    <a:pt x="90" y="186"/>
                  </a:lnTo>
                  <a:lnTo>
                    <a:pt x="86" y="194"/>
                  </a:lnTo>
                  <a:lnTo>
                    <a:pt x="86" y="202"/>
                  </a:lnTo>
                  <a:lnTo>
                    <a:pt x="86" y="210"/>
                  </a:lnTo>
                  <a:lnTo>
                    <a:pt x="82" y="224"/>
                  </a:lnTo>
                  <a:lnTo>
                    <a:pt x="94" y="236"/>
                  </a:lnTo>
                  <a:lnTo>
                    <a:pt x="106" y="246"/>
                  </a:lnTo>
                  <a:lnTo>
                    <a:pt x="106" y="252"/>
                  </a:lnTo>
                  <a:lnTo>
                    <a:pt x="104" y="276"/>
                  </a:lnTo>
                  <a:lnTo>
                    <a:pt x="102" y="294"/>
                  </a:lnTo>
                  <a:lnTo>
                    <a:pt x="104" y="302"/>
                  </a:lnTo>
                  <a:lnTo>
                    <a:pt x="116" y="310"/>
                  </a:lnTo>
                  <a:lnTo>
                    <a:pt x="116" y="326"/>
                  </a:lnTo>
                  <a:lnTo>
                    <a:pt x="116" y="336"/>
                  </a:lnTo>
                  <a:lnTo>
                    <a:pt x="102" y="322"/>
                  </a:lnTo>
                  <a:lnTo>
                    <a:pt x="96" y="310"/>
                  </a:lnTo>
                  <a:lnTo>
                    <a:pt x="92" y="314"/>
                  </a:lnTo>
                  <a:lnTo>
                    <a:pt x="94" y="322"/>
                  </a:lnTo>
                  <a:lnTo>
                    <a:pt x="90" y="330"/>
                  </a:lnTo>
                  <a:lnTo>
                    <a:pt x="84" y="340"/>
                  </a:lnTo>
                  <a:lnTo>
                    <a:pt x="80" y="346"/>
                  </a:lnTo>
                  <a:lnTo>
                    <a:pt x="86" y="352"/>
                  </a:lnTo>
                  <a:lnTo>
                    <a:pt x="80" y="360"/>
                  </a:lnTo>
                  <a:lnTo>
                    <a:pt x="72" y="370"/>
                  </a:lnTo>
                  <a:lnTo>
                    <a:pt x="70" y="378"/>
                  </a:lnTo>
                  <a:lnTo>
                    <a:pt x="64" y="386"/>
                  </a:lnTo>
                  <a:lnTo>
                    <a:pt x="50" y="404"/>
                  </a:lnTo>
                  <a:lnTo>
                    <a:pt x="42" y="422"/>
                  </a:lnTo>
                  <a:lnTo>
                    <a:pt x="42" y="424"/>
                  </a:lnTo>
                  <a:lnTo>
                    <a:pt x="46" y="430"/>
                  </a:lnTo>
                  <a:lnTo>
                    <a:pt x="40" y="438"/>
                  </a:lnTo>
                  <a:lnTo>
                    <a:pt x="42" y="446"/>
                  </a:lnTo>
                  <a:lnTo>
                    <a:pt x="50" y="460"/>
                  </a:lnTo>
                  <a:lnTo>
                    <a:pt x="86" y="478"/>
                  </a:lnTo>
                  <a:lnTo>
                    <a:pt x="110" y="498"/>
                  </a:lnTo>
                  <a:lnTo>
                    <a:pt x="118" y="496"/>
                  </a:lnTo>
                  <a:lnTo>
                    <a:pt x="130" y="490"/>
                  </a:lnTo>
                  <a:lnTo>
                    <a:pt x="172" y="508"/>
                  </a:lnTo>
                  <a:lnTo>
                    <a:pt x="178" y="514"/>
                  </a:lnTo>
                  <a:lnTo>
                    <a:pt x="182" y="524"/>
                  </a:lnTo>
                  <a:lnTo>
                    <a:pt x="190" y="528"/>
                  </a:lnTo>
                  <a:lnTo>
                    <a:pt x="200" y="530"/>
                  </a:lnTo>
                  <a:lnTo>
                    <a:pt x="214" y="538"/>
                  </a:lnTo>
                  <a:lnTo>
                    <a:pt x="238" y="540"/>
                  </a:lnTo>
                  <a:lnTo>
                    <a:pt x="246" y="530"/>
                  </a:lnTo>
                  <a:lnTo>
                    <a:pt x="248" y="520"/>
                  </a:lnTo>
                  <a:lnTo>
                    <a:pt x="248" y="508"/>
                  </a:lnTo>
                  <a:lnTo>
                    <a:pt x="260" y="498"/>
                  </a:lnTo>
                  <a:lnTo>
                    <a:pt x="280" y="488"/>
                  </a:lnTo>
                  <a:lnTo>
                    <a:pt x="290" y="486"/>
                  </a:lnTo>
                  <a:lnTo>
                    <a:pt x="300" y="480"/>
                  </a:lnTo>
                  <a:lnTo>
                    <a:pt x="310" y="480"/>
                  </a:lnTo>
                  <a:lnTo>
                    <a:pt x="322" y="488"/>
                  </a:lnTo>
                  <a:lnTo>
                    <a:pt x="330" y="496"/>
                  </a:lnTo>
                  <a:lnTo>
                    <a:pt x="338" y="496"/>
                  </a:lnTo>
                  <a:lnTo>
                    <a:pt x="346" y="498"/>
                  </a:lnTo>
                  <a:lnTo>
                    <a:pt x="364" y="500"/>
                  </a:lnTo>
                  <a:lnTo>
                    <a:pt x="374" y="514"/>
                  </a:lnTo>
                  <a:lnTo>
                    <a:pt x="384" y="520"/>
                  </a:lnTo>
                  <a:lnTo>
                    <a:pt x="398" y="524"/>
                  </a:lnTo>
                  <a:lnTo>
                    <a:pt x="410" y="532"/>
                  </a:lnTo>
                  <a:lnTo>
                    <a:pt x="416" y="532"/>
                  </a:lnTo>
                  <a:lnTo>
                    <a:pt x="434" y="516"/>
                  </a:lnTo>
                  <a:lnTo>
                    <a:pt x="444" y="514"/>
                  </a:lnTo>
                  <a:lnTo>
                    <a:pt x="452" y="508"/>
                  </a:lnTo>
                  <a:lnTo>
                    <a:pt x="464" y="498"/>
                  </a:lnTo>
                  <a:lnTo>
                    <a:pt x="480" y="498"/>
                  </a:lnTo>
                  <a:lnTo>
                    <a:pt x="478" y="480"/>
                  </a:lnTo>
                  <a:lnTo>
                    <a:pt x="476" y="474"/>
                  </a:lnTo>
                  <a:lnTo>
                    <a:pt x="468" y="464"/>
                  </a:lnTo>
                  <a:lnTo>
                    <a:pt x="464" y="466"/>
                  </a:lnTo>
                  <a:lnTo>
                    <a:pt x="458" y="464"/>
                  </a:lnTo>
                  <a:lnTo>
                    <a:pt x="452" y="456"/>
                  </a:lnTo>
                  <a:lnTo>
                    <a:pt x="450" y="438"/>
                  </a:lnTo>
                  <a:lnTo>
                    <a:pt x="462" y="426"/>
                  </a:lnTo>
                  <a:lnTo>
                    <a:pt x="454" y="416"/>
                  </a:lnTo>
                  <a:lnTo>
                    <a:pt x="454" y="410"/>
                  </a:lnTo>
                  <a:lnTo>
                    <a:pt x="470" y="394"/>
                  </a:lnTo>
                  <a:lnTo>
                    <a:pt x="470" y="390"/>
                  </a:lnTo>
                  <a:lnTo>
                    <a:pt x="466" y="370"/>
                  </a:lnTo>
                  <a:lnTo>
                    <a:pt x="476" y="360"/>
                  </a:lnTo>
                  <a:lnTo>
                    <a:pt x="468" y="350"/>
                  </a:lnTo>
                  <a:lnTo>
                    <a:pt x="468" y="342"/>
                  </a:lnTo>
                  <a:lnTo>
                    <a:pt x="466" y="328"/>
                  </a:lnTo>
                  <a:lnTo>
                    <a:pt x="464" y="324"/>
                  </a:lnTo>
                  <a:lnTo>
                    <a:pt x="454" y="324"/>
                  </a:lnTo>
                  <a:lnTo>
                    <a:pt x="444" y="326"/>
                  </a:lnTo>
                  <a:lnTo>
                    <a:pt x="442" y="330"/>
                  </a:lnTo>
                  <a:lnTo>
                    <a:pt x="436" y="334"/>
                  </a:lnTo>
                  <a:lnTo>
                    <a:pt x="428" y="336"/>
                  </a:lnTo>
                  <a:lnTo>
                    <a:pt x="426" y="330"/>
                  </a:lnTo>
                  <a:lnTo>
                    <a:pt x="432" y="322"/>
                  </a:lnTo>
                  <a:lnTo>
                    <a:pt x="434" y="316"/>
                  </a:lnTo>
                  <a:lnTo>
                    <a:pt x="434" y="310"/>
                  </a:lnTo>
                  <a:lnTo>
                    <a:pt x="450" y="296"/>
                  </a:lnTo>
                  <a:lnTo>
                    <a:pt x="458" y="292"/>
                  </a:lnTo>
                  <a:lnTo>
                    <a:pt x="458" y="282"/>
                  </a:lnTo>
                  <a:lnTo>
                    <a:pt x="466" y="272"/>
                  </a:lnTo>
                  <a:lnTo>
                    <a:pt x="490" y="256"/>
                  </a:lnTo>
                  <a:lnTo>
                    <a:pt x="498" y="256"/>
                  </a:lnTo>
                  <a:lnTo>
                    <a:pt x="500" y="248"/>
                  </a:lnTo>
                  <a:lnTo>
                    <a:pt x="508" y="240"/>
                  </a:lnTo>
                  <a:lnTo>
                    <a:pt x="514" y="240"/>
                  </a:lnTo>
                  <a:lnTo>
                    <a:pt x="518" y="236"/>
                  </a:lnTo>
                  <a:lnTo>
                    <a:pt x="522" y="234"/>
                  </a:lnTo>
                  <a:lnTo>
                    <a:pt x="528" y="224"/>
                  </a:lnTo>
                  <a:lnTo>
                    <a:pt x="534" y="210"/>
                  </a:lnTo>
                  <a:lnTo>
                    <a:pt x="534" y="200"/>
                  </a:lnTo>
                  <a:lnTo>
                    <a:pt x="534" y="192"/>
                  </a:lnTo>
                  <a:lnTo>
                    <a:pt x="542" y="182"/>
                  </a:lnTo>
                  <a:lnTo>
                    <a:pt x="556" y="176"/>
                  </a:lnTo>
                  <a:lnTo>
                    <a:pt x="562" y="170"/>
                  </a:lnTo>
                  <a:lnTo>
                    <a:pt x="562" y="166"/>
                  </a:lnTo>
                  <a:lnTo>
                    <a:pt x="550" y="158"/>
                  </a:lnTo>
                  <a:lnTo>
                    <a:pt x="546" y="156"/>
                  </a:lnTo>
                  <a:lnTo>
                    <a:pt x="530" y="154"/>
                  </a:lnTo>
                  <a:lnTo>
                    <a:pt x="510" y="152"/>
                  </a:lnTo>
                  <a:lnTo>
                    <a:pt x="504" y="150"/>
                  </a:lnTo>
                  <a:lnTo>
                    <a:pt x="498" y="148"/>
                  </a:lnTo>
                  <a:lnTo>
                    <a:pt x="490" y="142"/>
                  </a:lnTo>
                  <a:lnTo>
                    <a:pt x="484" y="130"/>
                  </a:lnTo>
                  <a:lnTo>
                    <a:pt x="480" y="124"/>
                  </a:lnTo>
                  <a:lnTo>
                    <a:pt x="472" y="120"/>
                  </a:lnTo>
                  <a:lnTo>
                    <a:pt x="464" y="118"/>
                  </a:lnTo>
                  <a:lnTo>
                    <a:pt x="460" y="116"/>
                  </a:lnTo>
                  <a:lnTo>
                    <a:pt x="450" y="108"/>
                  </a:lnTo>
                  <a:lnTo>
                    <a:pt x="436" y="96"/>
                  </a:lnTo>
                  <a:lnTo>
                    <a:pt x="428" y="86"/>
                  </a:lnTo>
                  <a:lnTo>
                    <a:pt x="418" y="84"/>
                  </a:lnTo>
                  <a:lnTo>
                    <a:pt x="412" y="80"/>
                  </a:lnTo>
                  <a:lnTo>
                    <a:pt x="408" y="68"/>
                  </a:lnTo>
                  <a:lnTo>
                    <a:pt x="396" y="56"/>
                  </a:lnTo>
                  <a:lnTo>
                    <a:pt x="394" y="46"/>
                  </a:lnTo>
                  <a:lnTo>
                    <a:pt x="384" y="36"/>
                  </a:lnTo>
                  <a:lnTo>
                    <a:pt x="380" y="28"/>
                  </a:lnTo>
                  <a:lnTo>
                    <a:pt x="374" y="22"/>
                  </a:lnTo>
                  <a:lnTo>
                    <a:pt x="364" y="14"/>
                  </a:lnTo>
                  <a:lnTo>
                    <a:pt x="354" y="4"/>
                  </a:lnTo>
                  <a:lnTo>
                    <a:pt x="346" y="0"/>
                  </a:lnTo>
                  <a:lnTo>
                    <a:pt x="326" y="2"/>
                  </a:lnTo>
                  <a:lnTo>
                    <a:pt x="318" y="2"/>
                  </a:lnTo>
                  <a:lnTo>
                    <a:pt x="308" y="10"/>
                  </a:lnTo>
                  <a:lnTo>
                    <a:pt x="314" y="16"/>
                  </a:lnTo>
                  <a:lnTo>
                    <a:pt x="306" y="26"/>
                  </a:lnTo>
                  <a:lnTo>
                    <a:pt x="284" y="50"/>
                  </a:lnTo>
                  <a:lnTo>
                    <a:pt x="274" y="56"/>
                  </a:lnTo>
                  <a:lnTo>
                    <a:pt x="246" y="60"/>
                  </a:lnTo>
                  <a:lnTo>
                    <a:pt x="234" y="64"/>
                  </a:lnTo>
                  <a:lnTo>
                    <a:pt x="226" y="70"/>
                  </a:lnTo>
                  <a:lnTo>
                    <a:pt x="224" y="76"/>
                  </a:lnTo>
                  <a:lnTo>
                    <a:pt x="212" y="72"/>
                  </a:lnTo>
                  <a:lnTo>
                    <a:pt x="196" y="76"/>
                  </a:lnTo>
                  <a:lnTo>
                    <a:pt x="184" y="74"/>
                  </a:lnTo>
                  <a:lnTo>
                    <a:pt x="174" y="68"/>
                  </a:lnTo>
                  <a:lnTo>
                    <a:pt x="168" y="60"/>
                  </a:lnTo>
                  <a:lnTo>
                    <a:pt x="162" y="56"/>
                  </a:lnTo>
                  <a:lnTo>
                    <a:pt x="166" y="50"/>
                  </a:lnTo>
                  <a:lnTo>
                    <a:pt x="158" y="42"/>
                  </a:lnTo>
                  <a:lnTo>
                    <a:pt x="152" y="42"/>
                  </a:lnTo>
                  <a:lnTo>
                    <a:pt x="146" y="40"/>
                  </a:lnTo>
                  <a:lnTo>
                    <a:pt x="144" y="42"/>
                  </a:lnTo>
                  <a:lnTo>
                    <a:pt x="150" y="48"/>
                  </a:lnTo>
                  <a:lnTo>
                    <a:pt x="148" y="52"/>
                  </a:lnTo>
                  <a:lnTo>
                    <a:pt x="150" y="60"/>
                  </a:lnTo>
                  <a:lnTo>
                    <a:pt x="152" y="70"/>
                  </a:lnTo>
                  <a:lnTo>
                    <a:pt x="152" y="76"/>
                  </a:lnTo>
                  <a:lnTo>
                    <a:pt x="150" y="78"/>
                  </a:lnTo>
                  <a:lnTo>
                    <a:pt x="144" y="82"/>
                  </a:lnTo>
                  <a:lnTo>
                    <a:pt x="144" y="88"/>
                  </a:lnTo>
                  <a:lnTo>
                    <a:pt x="144" y="96"/>
                  </a:lnTo>
                  <a:lnTo>
                    <a:pt x="142" y="100"/>
                  </a:lnTo>
                  <a:lnTo>
                    <a:pt x="134" y="100"/>
                  </a:lnTo>
                  <a:lnTo>
                    <a:pt x="124" y="94"/>
                  </a:lnTo>
                  <a:lnTo>
                    <a:pt x="118" y="100"/>
                  </a:lnTo>
                  <a:lnTo>
                    <a:pt x="108" y="92"/>
                  </a:lnTo>
                  <a:lnTo>
                    <a:pt x="102" y="92"/>
                  </a:lnTo>
                  <a:lnTo>
                    <a:pt x="96" y="96"/>
                  </a:lnTo>
                  <a:lnTo>
                    <a:pt x="90" y="96"/>
                  </a:lnTo>
                  <a:lnTo>
                    <a:pt x="90" y="92"/>
                  </a:lnTo>
                  <a:lnTo>
                    <a:pt x="68" y="70"/>
                  </a:lnTo>
                  <a:lnTo>
                    <a:pt x="62" y="68"/>
                  </a:lnTo>
                  <a:lnTo>
                    <a:pt x="58" y="72"/>
                  </a:lnTo>
                  <a:lnTo>
                    <a:pt x="48" y="76"/>
                  </a:lnTo>
                  <a:lnTo>
                    <a:pt x="42" y="78"/>
                  </a:lnTo>
                  <a:lnTo>
                    <a:pt x="36" y="72"/>
                  </a:lnTo>
                  <a:lnTo>
                    <a:pt x="20" y="72"/>
                  </a:lnTo>
                  <a:lnTo>
                    <a:pt x="8" y="7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08" name="Freeform 102"/>
            <p:cNvSpPr>
              <a:spLocks/>
            </p:cNvSpPr>
            <p:nvPr/>
          </p:nvSpPr>
          <p:spPr bwMode="auto">
            <a:xfrm>
              <a:off x="2161992" y="2069633"/>
              <a:ext cx="188563" cy="101726"/>
            </a:xfrm>
            <a:custGeom>
              <a:avLst/>
              <a:gdLst>
                <a:gd name="T0" fmla="*/ 66 w 274"/>
                <a:gd name="T1" fmla="*/ 48 h 140"/>
                <a:gd name="T2" fmla="*/ 60 w 274"/>
                <a:gd name="T3" fmla="*/ 28 h 140"/>
                <a:gd name="T4" fmla="*/ 42 w 274"/>
                <a:gd name="T5" fmla="*/ 20 h 140"/>
                <a:gd name="T6" fmla="*/ 24 w 274"/>
                <a:gd name="T7" fmla="*/ 34 h 140"/>
                <a:gd name="T8" fmla="*/ 12 w 274"/>
                <a:gd name="T9" fmla="*/ 64 h 140"/>
                <a:gd name="T10" fmla="*/ 8 w 274"/>
                <a:gd name="T11" fmla="*/ 76 h 140"/>
                <a:gd name="T12" fmla="*/ 0 w 274"/>
                <a:gd name="T13" fmla="*/ 86 h 140"/>
                <a:gd name="T14" fmla="*/ 2 w 274"/>
                <a:gd name="T15" fmla="*/ 108 h 140"/>
                <a:gd name="T16" fmla="*/ 10 w 274"/>
                <a:gd name="T17" fmla="*/ 122 h 140"/>
                <a:gd name="T18" fmla="*/ 34 w 274"/>
                <a:gd name="T19" fmla="*/ 110 h 140"/>
                <a:gd name="T20" fmla="*/ 50 w 274"/>
                <a:gd name="T21" fmla="*/ 108 h 140"/>
                <a:gd name="T22" fmla="*/ 72 w 274"/>
                <a:gd name="T23" fmla="*/ 112 h 140"/>
                <a:gd name="T24" fmla="*/ 92 w 274"/>
                <a:gd name="T25" fmla="*/ 108 h 140"/>
                <a:gd name="T26" fmla="*/ 106 w 274"/>
                <a:gd name="T27" fmla="*/ 112 h 140"/>
                <a:gd name="T28" fmla="*/ 124 w 274"/>
                <a:gd name="T29" fmla="*/ 108 h 140"/>
                <a:gd name="T30" fmla="*/ 144 w 274"/>
                <a:gd name="T31" fmla="*/ 106 h 140"/>
                <a:gd name="T32" fmla="*/ 164 w 274"/>
                <a:gd name="T33" fmla="*/ 120 h 140"/>
                <a:gd name="T34" fmla="*/ 192 w 274"/>
                <a:gd name="T35" fmla="*/ 130 h 140"/>
                <a:gd name="T36" fmla="*/ 208 w 274"/>
                <a:gd name="T37" fmla="*/ 140 h 140"/>
                <a:gd name="T38" fmla="*/ 234 w 274"/>
                <a:gd name="T39" fmla="*/ 134 h 140"/>
                <a:gd name="T40" fmla="*/ 246 w 274"/>
                <a:gd name="T41" fmla="*/ 120 h 140"/>
                <a:gd name="T42" fmla="*/ 268 w 274"/>
                <a:gd name="T43" fmla="*/ 98 h 140"/>
                <a:gd name="T44" fmla="*/ 270 w 274"/>
                <a:gd name="T45" fmla="*/ 66 h 140"/>
                <a:gd name="T46" fmla="*/ 250 w 274"/>
                <a:gd name="T47" fmla="*/ 50 h 140"/>
                <a:gd name="T48" fmla="*/ 240 w 274"/>
                <a:gd name="T49" fmla="*/ 24 h 140"/>
                <a:gd name="T50" fmla="*/ 222 w 274"/>
                <a:gd name="T51" fmla="*/ 14 h 140"/>
                <a:gd name="T52" fmla="*/ 192 w 274"/>
                <a:gd name="T53" fmla="*/ 22 h 140"/>
                <a:gd name="T54" fmla="*/ 172 w 274"/>
                <a:gd name="T55" fmla="*/ 14 h 140"/>
                <a:gd name="T56" fmla="*/ 156 w 274"/>
                <a:gd name="T57" fmla="*/ 4 h 140"/>
                <a:gd name="T58" fmla="*/ 140 w 274"/>
                <a:gd name="T59" fmla="*/ 0 h 140"/>
                <a:gd name="T60" fmla="*/ 122 w 274"/>
                <a:gd name="T61" fmla="*/ 4 h 140"/>
                <a:gd name="T62" fmla="*/ 114 w 274"/>
                <a:gd name="T63" fmla="*/ 14 h 140"/>
                <a:gd name="T64" fmla="*/ 116 w 274"/>
                <a:gd name="T65" fmla="*/ 44 h 140"/>
                <a:gd name="T66" fmla="*/ 106 w 274"/>
                <a:gd name="T67" fmla="*/ 62 h 140"/>
                <a:gd name="T68" fmla="*/ 94 w 274"/>
                <a:gd name="T69" fmla="*/ 6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4" h="140">
                  <a:moveTo>
                    <a:pt x="80" y="56"/>
                  </a:moveTo>
                  <a:lnTo>
                    <a:pt x="66" y="48"/>
                  </a:lnTo>
                  <a:lnTo>
                    <a:pt x="64" y="38"/>
                  </a:lnTo>
                  <a:lnTo>
                    <a:pt x="60" y="28"/>
                  </a:lnTo>
                  <a:lnTo>
                    <a:pt x="54" y="20"/>
                  </a:lnTo>
                  <a:lnTo>
                    <a:pt x="42" y="20"/>
                  </a:lnTo>
                  <a:lnTo>
                    <a:pt x="34" y="24"/>
                  </a:lnTo>
                  <a:lnTo>
                    <a:pt x="24" y="34"/>
                  </a:lnTo>
                  <a:lnTo>
                    <a:pt x="10" y="58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8" y="76"/>
                  </a:lnTo>
                  <a:lnTo>
                    <a:pt x="4" y="80"/>
                  </a:lnTo>
                  <a:lnTo>
                    <a:pt x="0" y="86"/>
                  </a:lnTo>
                  <a:lnTo>
                    <a:pt x="2" y="92"/>
                  </a:lnTo>
                  <a:lnTo>
                    <a:pt x="2" y="108"/>
                  </a:lnTo>
                  <a:lnTo>
                    <a:pt x="4" y="120"/>
                  </a:lnTo>
                  <a:lnTo>
                    <a:pt x="10" y="122"/>
                  </a:lnTo>
                  <a:lnTo>
                    <a:pt x="22" y="118"/>
                  </a:lnTo>
                  <a:lnTo>
                    <a:pt x="34" y="110"/>
                  </a:lnTo>
                  <a:lnTo>
                    <a:pt x="40" y="104"/>
                  </a:lnTo>
                  <a:lnTo>
                    <a:pt x="50" y="108"/>
                  </a:lnTo>
                  <a:lnTo>
                    <a:pt x="62" y="110"/>
                  </a:lnTo>
                  <a:lnTo>
                    <a:pt x="72" y="112"/>
                  </a:lnTo>
                  <a:lnTo>
                    <a:pt x="78" y="116"/>
                  </a:lnTo>
                  <a:lnTo>
                    <a:pt x="92" y="108"/>
                  </a:lnTo>
                  <a:lnTo>
                    <a:pt x="98" y="108"/>
                  </a:lnTo>
                  <a:lnTo>
                    <a:pt x="106" y="112"/>
                  </a:lnTo>
                  <a:lnTo>
                    <a:pt x="114" y="114"/>
                  </a:lnTo>
                  <a:lnTo>
                    <a:pt x="124" y="108"/>
                  </a:lnTo>
                  <a:lnTo>
                    <a:pt x="136" y="104"/>
                  </a:lnTo>
                  <a:lnTo>
                    <a:pt x="144" y="106"/>
                  </a:lnTo>
                  <a:lnTo>
                    <a:pt x="150" y="118"/>
                  </a:lnTo>
                  <a:lnTo>
                    <a:pt x="164" y="120"/>
                  </a:lnTo>
                  <a:lnTo>
                    <a:pt x="182" y="118"/>
                  </a:lnTo>
                  <a:lnTo>
                    <a:pt x="192" y="130"/>
                  </a:lnTo>
                  <a:lnTo>
                    <a:pt x="200" y="138"/>
                  </a:lnTo>
                  <a:lnTo>
                    <a:pt x="208" y="140"/>
                  </a:lnTo>
                  <a:lnTo>
                    <a:pt x="222" y="136"/>
                  </a:lnTo>
                  <a:lnTo>
                    <a:pt x="234" y="134"/>
                  </a:lnTo>
                  <a:lnTo>
                    <a:pt x="242" y="128"/>
                  </a:lnTo>
                  <a:lnTo>
                    <a:pt x="246" y="120"/>
                  </a:lnTo>
                  <a:lnTo>
                    <a:pt x="260" y="104"/>
                  </a:lnTo>
                  <a:lnTo>
                    <a:pt x="268" y="98"/>
                  </a:lnTo>
                  <a:lnTo>
                    <a:pt x="274" y="84"/>
                  </a:lnTo>
                  <a:lnTo>
                    <a:pt x="270" y="66"/>
                  </a:lnTo>
                  <a:lnTo>
                    <a:pt x="264" y="62"/>
                  </a:lnTo>
                  <a:lnTo>
                    <a:pt x="250" y="50"/>
                  </a:lnTo>
                  <a:lnTo>
                    <a:pt x="246" y="38"/>
                  </a:lnTo>
                  <a:lnTo>
                    <a:pt x="240" y="24"/>
                  </a:lnTo>
                  <a:lnTo>
                    <a:pt x="230" y="14"/>
                  </a:lnTo>
                  <a:lnTo>
                    <a:pt x="222" y="14"/>
                  </a:lnTo>
                  <a:lnTo>
                    <a:pt x="200" y="14"/>
                  </a:lnTo>
                  <a:lnTo>
                    <a:pt x="192" y="22"/>
                  </a:lnTo>
                  <a:lnTo>
                    <a:pt x="184" y="24"/>
                  </a:lnTo>
                  <a:lnTo>
                    <a:pt x="172" y="14"/>
                  </a:lnTo>
                  <a:lnTo>
                    <a:pt x="162" y="10"/>
                  </a:lnTo>
                  <a:lnTo>
                    <a:pt x="156" y="4"/>
                  </a:lnTo>
                  <a:lnTo>
                    <a:pt x="152" y="2"/>
                  </a:lnTo>
                  <a:lnTo>
                    <a:pt x="140" y="0"/>
                  </a:lnTo>
                  <a:lnTo>
                    <a:pt x="130" y="4"/>
                  </a:lnTo>
                  <a:lnTo>
                    <a:pt x="122" y="4"/>
                  </a:lnTo>
                  <a:lnTo>
                    <a:pt x="118" y="6"/>
                  </a:lnTo>
                  <a:lnTo>
                    <a:pt x="114" y="14"/>
                  </a:lnTo>
                  <a:lnTo>
                    <a:pt x="114" y="28"/>
                  </a:lnTo>
                  <a:lnTo>
                    <a:pt x="116" y="44"/>
                  </a:lnTo>
                  <a:lnTo>
                    <a:pt x="116" y="52"/>
                  </a:lnTo>
                  <a:lnTo>
                    <a:pt x="106" y="62"/>
                  </a:lnTo>
                  <a:lnTo>
                    <a:pt x="98" y="68"/>
                  </a:lnTo>
                  <a:lnTo>
                    <a:pt x="94" y="60"/>
                  </a:lnTo>
                  <a:lnTo>
                    <a:pt x="80" y="5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09" name="Freeform 103"/>
            <p:cNvSpPr>
              <a:spLocks/>
            </p:cNvSpPr>
            <p:nvPr/>
          </p:nvSpPr>
          <p:spPr bwMode="auto">
            <a:xfrm>
              <a:off x="2161992" y="2069633"/>
              <a:ext cx="188563" cy="101726"/>
            </a:xfrm>
            <a:custGeom>
              <a:avLst/>
              <a:gdLst>
                <a:gd name="T0" fmla="*/ 66 w 274"/>
                <a:gd name="T1" fmla="*/ 48 h 140"/>
                <a:gd name="T2" fmla="*/ 60 w 274"/>
                <a:gd name="T3" fmla="*/ 28 h 140"/>
                <a:gd name="T4" fmla="*/ 42 w 274"/>
                <a:gd name="T5" fmla="*/ 20 h 140"/>
                <a:gd name="T6" fmla="*/ 24 w 274"/>
                <a:gd name="T7" fmla="*/ 34 h 140"/>
                <a:gd name="T8" fmla="*/ 12 w 274"/>
                <a:gd name="T9" fmla="*/ 64 h 140"/>
                <a:gd name="T10" fmla="*/ 8 w 274"/>
                <a:gd name="T11" fmla="*/ 76 h 140"/>
                <a:gd name="T12" fmla="*/ 0 w 274"/>
                <a:gd name="T13" fmla="*/ 86 h 140"/>
                <a:gd name="T14" fmla="*/ 2 w 274"/>
                <a:gd name="T15" fmla="*/ 108 h 140"/>
                <a:gd name="T16" fmla="*/ 10 w 274"/>
                <a:gd name="T17" fmla="*/ 122 h 140"/>
                <a:gd name="T18" fmla="*/ 34 w 274"/>
                <a:gd name="T19" fmla="*/ 110 h 140"/>
                <a:gd name="T20" fmla="*/ 50 w 274"/>
                <a:gd name="T21" fmla="*/ 108 h 140"/>
                <a:gd name="T22" fmla="*/ 72 w 274"/>
                <a:gd name="T23" fmla="*/ 112 h 140"/>
                <a:gd name="T24" fmla="*/ 92 w 274"/>
                <a:gd name="T25" fmla="*/ 108 h 140"/>
                <a:gd name="T26" fmla="*/ 106 w 274"/>
                <a:gd name="T27" fmla="*/ 112 h 140"/>
                <a:gd name="T28" fmla="*/ 124 w 274"/>
                <a:gd name="T29" fmla="*/ 108 h 140"/>
                <a:gd name="T30" fmla="*/ 144 w 274"/>
                <a:gd name="T31" fmla="*/ 106 h 140"/>
                <a:gd name="T32" fmla="*/ 164 w 274"/>
                <a:gd name="T33" fmla="*/ 120 h 140"/>
                <a:gd name="T34" fmla="*/ 192 w 274"/>
                <a:gd name="T35" fmla="*/ 130 h 140"/>
                <a:gd name="T36" fmla="*/ 208 w 274"/>
                <a:gd name="T37" fmla="*/ 140 h 140"/>
                <a:gd name="T38" fmla="*/ 234 w 274"/>
                <a:gd name="T39" fmla="*/ 134 h 140"/>
                <a:gd name="T40" fmla="*/ 246 w 274"/>
                <a:gd name="T41" fmla="*/ 120 h 140"/>
                <a:gd name="T42" fmla="*/ 268 w 274"/>
                <a:gd name="T43" fmla="*/ 98 h 140"/>
                <a:gd name="T44" fmla="*/ 270 w 274"/>
                <a:gd name="T45" fmla="*/ 66 h 140"/>
                <a:gd name="T46" fmla="*/ 250 w 274"/>
                <a:gd name="T47" fmla="*/ 50 h 140"/>
                <a:gd name="T48" fmla="*/ 240 w 274"/>
                <a:gd name="T49" fmla="*/ 24 h 140"/>
                <a:gd name="T50" fmla="*/ 222 w 274"/>
                <a:gd name="T51" fmla="*/ 14 h 140"/>
                <a:gd name="T52" fmla="*/ 192 w 274"/>
                <a:gd name="T53" fmla="*/ 22 h 140"/>
                <a:gd name="T54" fmla="*/ 172 w 274"/>
                <a:gd name="T55" fmla="*/ 14 h 140"/>
                <a:gd name="T56" fmla="*/ 156 w 274"/>
                <a:gd name="T57" fmla="*/ 4 h 140"/>
                <a:gd name="T58" fmla="*/ 140 w 274"/>
                <a:gd name="T59" fmla="*/ 0 h 140"/>
                <a:gd name="T60" fmla="*/ 122 w 274"/>
                <a:gd name="T61" fmla="*/ 4 h 140"/>
                <a:gd name="T62" fmla="*/ 114 w 274"/>
                <a:gd name="T63" fmla="*/ 14 h 140"/>
                <a:gd name="T64" fmla="*/ 116 w 274"/>
                <a:gd name="T65" fmla="*/ 44 h 140"/>
                <a:gd name="T66" fmla="*/ 106 w 274"/>
                <a:gd name="T67" fmla="*/ 62 h 140"/>
                <a:gd name="T68" fmla="*/ 94 w 274"/>
                <a:gd name="T69" fmla="*/ 6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4" h="140">
                  <a:moveTo>
                    <a:pt x="80" y="56"/>
                  </a:moveTo>
                  <a:lnTo>
                    <a:pt x="66" y="48"/>
                  </a:lnTo>
                  <a:lnTo>
                    <a:pt x="64" y="38"/>
                  </a:lnTo>
                  <a:lnTo>
                    <a:pt x="60" y="28"/>
                  </a:lnTo>
                  <a:lnTo>
                    <a:pt x="54" y="20"/>
                  </a:lnTo>
                  <a:lnTo>
                    <a:pt x="42" y="20"/>
                  </a:lnTo>
                  <a:lnTo>
                    <a:pt x="34" y="24"/>
                  </a:lnTo>
                  <a:lnTo>
                    <a:pt x="24" y="34"/>
                  </a:lnTo>
                  <a:lnTo>
                    <a:pt x="10" y="58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8" y="76"/>
                  </a:lnTo>
                  <a:lnTo>
                    <a:pt x="4" y="80"/>
                  </a:lnTo>
                  <a:lnTo>
                    <a:pt x="0" y="86"/>
                  </a:lnTo>
                  <a:lnTo>
                    <a:pt x="2" y="92"/>
                  </a:lnTo>
                  <a:lnTo>
                    <a:pt x="2" y="108"/>
                  </a:lnTo>
                  <a:lnTo>
                    <a:pt x="4" y="120"/>
                  </a:lnTo>
                  <a:lnTo>
                    <a:pt x="10" y="122"/>
                  </a:lnTo>
                  <a:lnTo>
                    <a:pt x="22" y="118"/>
                  </a:lnTo>
                  <a:lnTo>
                    <a:pt x="34" y="110"/>
                  </a:lnTo>
                  <a:lnTo>
                    <a:pt x="40" y="104"/>
                  </a:lnTo>
                  <a:lnTo>
                    <a:pt x="50" y="108"/>
                  </a:lnTo>
                  <a:lnTo>
                    <a:pt x="62" y="110"/>
                  </a:lnTo>
                  <a:lnTo>
                    <a:pt x="72" y="112"/>
                  </a:lnTo>
                  <a:lnTo>
                    <a:pt x="78" y="116"/>
                  </a:lnTo>
                  <a:lnTo>
                    <a:pt x="92" y="108"/>
                  </a:lnTo>
                  <a:lnTo>
                    <a:pt x="98" y="108"/>
                  </a:lnTo>
                  <a:lnTo>
                    <a:pt x="106" y="112"/>
                  </a:lnTo>
                  <a:lnTo>
                    <a:pt x="114" y="114"/>
                  </a:lnTo>
                  <a:lnTo>
                    <a:pt x="124" y="108"/>
                  </a:lnTo>
                  <a:lnTo>
                    <a:pt x="136" y="104"/>
                  </a:lnTo>
                  <a:lnTo>
                    <a:pt x="144" y="106"/>
                  </a:lnTo>
                  <a:lnTo>
                    <a:pt x="150" y="118"/>
                  </a:lnTo>
                  <a:lnTo>
                    <a:pt x="164" y="120"/>
                  </a:lnTo>
                  <a:lnTo>
                    <a:pt x="182" y="118"/>
                  </a:lnTo>
                  <a:lnTo>
                    <a:pt x="192" y="130"/>
                  </a:lnTo>
                  <a:lnTo>
                    <a:pt x="200" y="138"/>
                  </a:lnTo>
                  <a:lnTo>
                    <a:pt x="208" y="140"/>
                  </a:lnTo>
                  <a:lnTo>
                    <a:pt x="222" y="136"/>
                  </a:lnTo>
                  <a:lnTo>
                    <a:pt x="234" y="134"/>
                  </a:lnTo>
                  <a:lnTo>
                    <a:pt x="242" y="128"/>
                  </a:lnTo>
                  <a:lnTo>
                    <a:pt x="246" y="120"/>
                  </a:lnTo>
                  <a:lnTo>
                    <a:pt x="260" y="104"/>
                  </a:lnTo>
                  <a:lnTo>
                    <a:pt x="268" y="98"/>
                  </a:lnTo>
                  <a:lnTo>
                    <a:pt x="274" y="84"/>
                  </a:lnTo>
                  <a:lnTo>
                    <a:pt x="270" y="66"/>
                  </a:lnTo>
                  <a:lnTo>
                    <a:pt x="264" y="62"/>
                  </a:lnTo>
                  <a:lnTo>
                    <a:pt x="250" y="50"/>
                  </a:lnTo>
                  <a:lnTo>
                    <a:pt x="246" y="38"/>
                  </a:lnTo>
                  <a:lnTo>
                    <a:pt x="240" y="24"/>
                  </a:lnTo>
                  <a:lnTo>
                    <a:pt x="230" y="14"/>
                  </a:lnTo>
                  <a:lnTo>
                    <a:pt x="222" y="14"/>
                  </a:lnTo>
                  <a:lnTo>
                    <a:pt x="200" y="14"/>
                  </a:lnTo>
                  <a:lnTo>
                    <a:pt x="192" y="22"/>
                  </a:lnTo>
                  <a:lnTo>
                    <a:pt x="184" y="24"/>
                  </a:lnTo>
                  <a:lnTo>
                    <a:pt x="172" y="14"/>
                  </a:lnTo>
                  <a:lnTo>
                    <a:pt x="162" y="10"/>
                  </a:lnTo>
                  <a:lnTo>
                    <a:pt x="156" y="4"/>
                  </a:lnTo>
                  <a:lnTo>
                    <a:pt x="152" y="2"/>
                  </a:lnTo>
                  <a:lnTo>
                    <a:pt x="140" y="0"/>
                  </a:lnTo>
                  <a:lnTo>
                    <a:pt x="130" y="4"/>
                  </a:lnTo>
                  <a:lnTo>
                    <a:pt x="122" y="4"/>
                  </a:lnTo>
                  <a:lnTo>
                    <a:pt x="118" y="6"/>
                  </a:lnTo>
                  <a:lnTo>
                    <a:pt x="114" y="14"/>
                  </a:lnTo>
                  <a:lnTo>
                    <a:pt x="114" y="28"/>
                  </a:lnTo>
                  <a:lnTo>
                    <a:pt x="116" y="44"/>
                  </a:lnTo>
                  <a:lnTo>
                    <a:pt x="116" y="52"/>
                  </a:lnTo>
                  <a:lnTo>
                    <a:pt x="106" y="62"/>
                  </a:lnTo>
                  <a:lnTo>
                    <a:pt x="98" y="68"/>
                  </a:lnTo>
                  <a:lnTo>
                    <a:pt x="94" y="60"/>
                  </a:lnTo>
                  <a:lnTo>
                    <a:pt x="80" y="5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10" name="Freeform 104"/>
            <p:cNvSpPr>
              <a:spLocks/>
            </p:cNvSpPr>
            <p:nvPr/>
          </p:nvSpPr>
          <p:spPr bwMode="auto">
            <a:xfrm>
              <a:off x="1410494" y="1938843"/>
              <a:ext cx="229854" cy="390917"/>
            </a:xfrm>
            <a:custGeom>
              <a:avLst/>
              <a:gdLst>
                <a:gd name="T0" fmla="*/ 108 w 334"/>
                <a:gd name="T1" fmla="*/ 372 h 538"/>
                <a:gd name="T2" fmla="*/ 72 w 334"/>
                <a:gd name="T3" fmla="*/ 396 h 538"/>
                <a:gd name="T4" fmla="*/ 62 w 334"/>
                <a:gd name="T5" fmla="*/ 418 h 538"/>
                <a:gd name="T6" fmla="*/ 84 w 334"/>
                <a:gd name="T7" fmla="*/ 430 h 538"/>
                <a:gd name="T8" fmla="*/ 102 w 334"/>
                <a:gd name="T9" fmla="*/ 438 h 538"/>
                <a:gd name="T10" fmla="*/ 134 w 334"/>
                <a:gd name="T11" fmla="*/ 444 h 538"/>
                <a:gd name="T12" fmla="*/ 112 w 334"/>
                <a:gd name="T13" fmla="*/ 470 h 538"/>
                <a:gd name="T14" fmla="*/ 64 w 334"/>
                <a:gd name="T15" fmla="*/ 456 h 538"/>
                <a:gd name="T16" fmla="*/ 30 w 334"/>
                <a:gd name="T17" fmla="*/ 484 h 538"/>
                <a:gd name="T18" fmla="*/ 2 w 334"/>
                <a:gd name="T19" fmla="*/ 498 h 538"/>
                <a:gd name="T20" fmla="*/ 16 w 334"/>
                <a:gd name="T21" fmla="*/ 510 h 538"/>
                <a:gd name="T22" fmla="*/ 44 w 334"/>
                <a:gd name="T23" fmla="*/ 506 h 538"/>
                <a:gd name="T24" fmla="*/ 82 w 334"/>
                <a:gd name="T25" fmla="*/ 522 h 538"/>
                <a:gd name="T26" fmla="*/ 110 w 334"/>
                <a:gd name="T27" fmla="*/ 496 h 538"/>
                <a:gd name="T28" fmla="*/ 136 w 334"/>
                <a:gd name="T29" fmla="*/ 512 h 538"/>
                <a:gd name="T30" fmla="*/ 170 w 334"/>
                <a:gd name="T31" fmla="*/ 518 h 538"/>
                <a:gd name="T32" fmla="*/ 196 w 334"/>
                <a:gd name="T33" fmla="*/ 514 h 538"/>
                <a:gd name="T34" fmla="*/ 232 w 334"/>
                <a:gd name="T35" fmla="*/ 530 h 538"/>
                <a:gd name="T36" fmla="*/ 264 w 334"/>
                <a:gd name="T37" fmla="*/ 532 h 538"/>
                <a:gd name="T38" fmla="*/ 294 w 334"/>
                <a:gd name="T39" fmla="*/ 522 h 538"/>
                <a:gd name="T40" fmla="*/ 282 w 334"/>
                <a:gd name="T41" fmla="*/ 496 h 538"/>
                <a:gd name="T42" fmla="*/ 284 w 334"/>
                <a:gd name="T43" fmla="*/ 480 h 538"/>
                <a:gd name="T44" fmla="*/ 322 w 334"/>
                <a:gd name="T45" fmla="*/ 456 h 538"/>
                <a:gd name="T46" fmla="*/ 334 w 334"/>
                <a:gd name="T47" fmla="*/ 422 h 538"/>
                <a:gd name="T48" fmla="*/ 306 w 334"/>
                <a:gd name="T49" fmla="*/ 402 h 538"/>
                <a:gd name="T50" fmla="*/ 284 w 334"/>
                <a:gd name="T51" fmla="*/ 400 h 538"/>
                <a:gd name="T52" fmla="*/ 292 w 334"/>
                <a:gd name="T53" fmla="*/ 368 h 538"/>
                <a:gd name="T54" fmla="*/ 292 w 334"/>
                <a:gd name="T55" fmla="*/ 322 h 538"/>
                <a:gd name="T56" fmla="*/ 262 w 334"/>
                <a:gd name="T57" fmla="*/ 270 h 538"/>
                <a:gd name="T58" fmla="*/ 262 w 334"/>
                <a:gd name="T59" fmla="*/ 228 h 538"/>
                <a:gd name="T60" fmla="*/ 252 w 334"/>
                <a:gd name="T61" fmla="*/ 196 h 538"/>
                <a:gd name="T62" fmla="*/ 220 w 334"/>
                <a:gd name="T63" fmla="*/ 178 h 538"/>
                <a:gd name="T64" fmla="*/ 218 w 334"/>
                <a:gd name="T65" fmla="*/ 166 h 538"/>
                <a:gd name="T66" fmla="*/ 244 w 334"/>
                <a:gd name="T67" fmla="*/ 170 h 538"/>
                <a:gd name="T68" fmla="*/ 288 w 334"/>
                <a:gd name="T69" fmla="*/ 118 h 538"/>
                <a:gd name="T70" fmla="*/ 284 w 334"/>
                <a:gd name="T71" fmla="*/ 86 h 538"/>
                <a:gd name="T72" fmla="*/ 244 w 334"/>
                <a:gd name="T73" fmla="*/ 70 h 538"/>
                <a:gd name="T74" fmla="*/ 218 w 334"/>
                <a:gd name="T75" fmla="*/ 66 h 538"/>
                <a:gd name="T76" fmla="*/ 252 w 334"/>
                <a:gd name="T77" fmla="*/ 36 h 538"/>
                <a:gd name="T78" fmla="*/ 290 w 334"/>
                <a:gd name="T79" fmla="*/ 16 h 538"/>
                <a:gd name="T80" fmla="*/ 236 w 334"/>
                <a:gd name="T81" fmla="*/ 8 h 538"/>
                <a:gd name="T82" fmla="*/ 206 w 334"/>
                <a:gd name="T83" fmla="*/ 24 h 538"/>
                <a:gd name="T84" fmla="*/ 172 w 334"/>
                <a:gd name="T85" fmla="*/ 38 h 538"/>
                <a:gd name="T86" fmla="*/ 160 w 334"/>
                <a:gd name="T87" fmla="*/ 74 h 538"/>
                <a:gd name="T88" fmla="*/ 138 w 334"/>
                <a:gd name="T89" fmla="*/ 110 h 538"/>
                <a:gd name="T90" fmla="*/ 158 w 334"/>
                <a:gd name="T91" fmla="*/ 118 h 538"/>
                <a:gd name="T92" fmla="*/ 118 w 334"/>
                <a:gd name="T93" fmla="*/ 180 h 538"/>
                <a:gd name="T94" fmla="*/ 148 w 334"/>
                <a:gd name="T95" fmla="*/ 158 h 538"/>
                <a:gd name="T96" fmla="*/ 158 w 334"/>
                <a:gd name="T97" fmla="*/ 200 h 538"/>
                <a:gd name="T98" fmla="*/ 130 w 334"/>
                <a:gd name="T99" fmla="*/ 226 h 538"/>
                <a:gd name="T100" fmla="*/ 170 w 334"/>
                <a:gd name="T101" fmla="*/ 248 h 538"/>
                <a:gd name="T102" fmla="*/ 172 w 334"/>
                <a:gd name="T103" fmla="*/ 262 h 538"/>
                <a:gd name="T104" fmla="*/ 196 w 334"/>
                <a:gd name="T105" fmla="*/ 294 h 538"/>
                <a:gd name="T106" fmla="*/ 172 w 334"/>
                <a:gd name="T107" fmla="*/ 320 h 538"/>
                <a:gd name="T108" fmla="*/ 146 w 334"/>
                <a:gd name="T109" fmla="*/ 32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34" h="538">
                  <a:moveTo>
                    <a:pt x="100" y="344"/>
                  </a:moveTo>
                  <a:lnTo>
                    <a:pt x="116" y="358"/>
                  </a:lnTo>
                  <a:lnTo>
                    <a:pt x="108" y="372"/>
                  </a:lnTo>
                  <a:lnTo>
                    <a:pt x="100" y="382"/>
                  </a:lnTo>
                  <a:lnTo>
                    <a:pt x="84" y="390"/>
                  </a:lnTo>
                  <a:lnTo>
                    <a:pt x="72" y="396"/>
                  </a:lnTo>
                  <a:lnTo>
                    <a:pt x="60" y="398"/>
                  </a:lnTo>
                  <a:lnTo>
                    <a:pt x="52" y="402"/>
                  </a:lnTo>
                  <a:lnTo>
                    <a:pt x="62" y="418"/>
                  </a:lnTo>
                  <a:lnTo>
                    <a:pt x="76" y="418"/>
                  </a:lnTo>
                  <a:lnTo>
                    <a:pt x="84" y="420"/>
                  </a:lnTo>
                  <a:lnTo>
                    <a:pt x="84" y="430"/>
                  </a:lnTo>
                  <a:lnTo>
                    <a:pt x="92" y="430"/>
                  </a:lnTo>
                  <a:lnTo>
                    <a:pt x="98" y="428"/>
                  </a:lnTo>
                  <a:lnTo>
                    <a:pt x="102" y="438"/>
                  </a:lnTo>
                  <a:lnTo>
                    <a:pt x="110" y="448"/>
                  </a:lnTo>
                  <a:lnTo>
                    <a:pt x="124" y="448"/>
                  </a:lnTo>
                  <a:lnTo>
                    <a:pt x="134" y="444"/>
                  </a:lnTo>
                  <a:lnTo>
                    <a:pt x="142" y="448"/>
                  </a:lnTo>
                  <a:lnTo>
                    <a:pt x="120" y="466"/>
                  </a:lnTo>
                  <a:lnTo>
                    <a:pt x="112" y="470"/>
                  </a:lnTo>
                  <a:lnTo>
                    <a:pt x="102" y="466"/>
                  </a:lnTo>
                  <a:lnTo>
                    <a:pt x="76" y="456"/>
                  </a:lnTo>
                  <a:lnTo>
                    <a:pt x="64" y="456"/>
                  </a:lnTo>
                  <a:lnTo>
                    <a:pt x="54" y="466"/>
                  </a:lnTo>
                  <a:lnTo>
                    <a:pt x="38" y="478"/>
                  </a:lnTo>
                  <a:lnTo>
                    <a:pt x="30" y="484"/>
                  </a:lnTo>
                  <a:lnTo>
                    <a:pt x="20" y="486"/>
                  </a:lnTo>
                  <a:lnTo>
                    <a:pt x="10" y="492"/>
                  </a:lnTo>
                  <a:lnTo>
                    <a:pt x="2" y="498"/>
                  </a:lnTo>
                  <a:lnTo>
                    <a:pt x="0" y="502"/>
                  </a:lnTo>
                  <a:lnTo>
                    <a:pt x="10" y="504"/>
                  </a:lnTo>
                  <a:lnTo>
                    <a:pt x="16" y="510"/>
                  </a:lnTo>
                  <a:lnTo>
                    <a:pt x="26" y="514"/>
                  </a:lnTo>
                  <a:lnTo>
                    <a:pt x="36" y="510"/>
                  </a:lnTo>
                  <a:lnTo>
                    <a:pt x="44" y="506"/>
                  </a:lnTo>
                  <a:lnTo>
                    <a:pt x="54" y="508"/>
                  </a:lnTo>
                  <a:lnTo>
                    <a:pt x="68" y="516"/>
                  </a:lnTo>
                  <a:lnTo>
                    <a:pt x="82" y="522"/>
                  </a:lnTo>
                  <a:lnTo>
                    <a:pt x="90" y="516"/>
                  </a:lnTo>
                  <a:lnTo>
                    <a:pt x="94" y="506"/>
                  </a:lnTo>
                  <a:lnTo>
                    <a:pt x="110" y="496"/>
                  </a:lnTo>
                  <a:lnTo>
                    <a:pt x="118" y="496"/>
                  </a:lnTo>
                  <a:lnTo>
                    <a:pt x="128" y="506"/>
                  </a:lnTo>
                  <a:lnTo>
                    <a:pt x="136" y="512"/>
                  </a:lnTo>
                  <a:lnTo>
                    <a:pt x="146" y="512"/>
                  </a:lnTo>
                  <a:lnTo>
                    <a:pt x="162" y="514"/>
                  </a:lnTo>
                  <a:lnTo>
                    <a:pt x="170" y="518"/>
                  </a:lnTo>
                  <a:lnTo>
                    <a:pt x="180" y="510"/>
                  </a:lnTo>
                  <a:lnTo>
                    <a:pt x="188" y="510"/>
                  </a:lnTo>
                  <a:lnTo>
                    <a:pt x="196" y="514"/>
                  </a:lnTo>
                  <a:lnTo>
                    <a:pt x="206" y="526"/>
                  </a:lnTo>
                  <a:lnTo>
                    <a:pt x="218" y="526"/>
                  </a:lnTo>
                  <a:lnTo>
                    <a:pt x="232" y="530"/>
                  </a:lnTo>
                  <a:lnTo>
                    <a:pt x="242" y="534"/>
                  </a:lnTo>
                  <a:lnTo>
                    <a:pt x="254" y="538"/>
                  </a:lnTo>
                  <a:lnTo>
                    <a:pt x="264" y="532"/>
                  </a:lnTo>
                  <a:lnTo>
                    <a:pt x="276" y="526"/>
                  </a:lnTo>
                  <a:lnTo>
                    <a:pt x="284" y="524"/>
                  </a:lnTo>
                  <a:lnTo>
                    <a:pt x="294" y="522"/>
                  </a:lnTo>
                  <a:lnTo>
                    <a:pt x="304" y="514"/>
                  </a:lnTo>
                  <a:lnTo>
                    <a:pt x="298" y="506"/>
                  </a:lnTo>
                  <a:lnTo>
                    <a:pt x="282" y="496"/>
                  </a:lnTo>
                  <a:lnTo>
                    <a:pt x="276" y="492"/>
                  </a:lnTo>
                  <a:lnTo>
                    <a:pt x="276" y="486"/>
                  </a:lnTo>
                  <a:lnTo>
                    <a:pt x="284" y="480"/>
                  </a:lnTo>
                  <a:lnTo>
                    <a:pt x="294" y="480"/>
                  </a:lnTo>
                  <a:lnTo>
                    <a:pt x="306" y="474"/>
                  </a:lnTo>
                  <a:lnTo>
                    <a:pt x="322" y="456"/>
                  </a:lnTo>
                  <a:lnTo>
                    <a:pt x="332" y="446"/>
                  </a:lnTo>
                  <a:lnTo>
                    <a:pt x="334" y="430"/>
                  </a:lnTo>
                  <a:lnTo>
                    <a:pt x="334" y="422"/>
                  </a:lnTo>
                  <a:lnTo>
                    <a:pt x="326" y="414"/>
                  </a:lnTo>
                  <a:lnTo>
                    <a:pt x="314" y="406"/>
                  </a:lnTo>
                  <a:lnTo>
                    <a:pt x="306" y="402"/>
                  </a:lnTo>
                  <a:lnTo>
                    <a:pt x="294" y="404"/>
                  </a:lnTo>
                  <a:lnTo>
                    <a:pt x="288" y="408"/>
                  </a:lnTo>
                  <a:lnTo>
                    <a:pt x="284" y="400"/>
                  </a:lnTo>
                  <a:lnTo>
                    <a:pt x="290" y="390"/>
                  </a:lnTo>
                  <a:lnTo>
                    <a:pt x="292" y="382"/>
                  </a:lnTo>
                  <a:lnTo>
                    <a:pt x="292" y="368"/>
                  </a:lnTo>
                  <a:lnTo>
                    <a:pt x="290" y="348"/>
                  </a:lnTo>
                  <a:lnTo>
                    <a:pt x="294" y="332"/>
                  </a:lnTo>
                  <a:lnTo>
                    <a:pt x="292" y="322"/>
                  </a:lnTo>
                  <a:lnTo>
                    <a:pt x="284" y="310"/>
                  </a:lnTo>
                  <a:lnTo>
                    <a:pt x="268" y="282"/>
                  </a:lnTo>
                  <a:lnTo>
                    <a:pt x="262" y="270"/>
                  </a:lnTo>
                  <a:lnTo>
                    <a:pt x="258" y="254"/>
                  </a:lnTo>
                  <a:lnTo>
                    <a:pt x="258" y="244"/>
                  </a:lnTo>
                  <a:lnTo>
                    <a:pt x="262" y="228"/>
                  </a:lnTo>
                  <a:lnTo>
                    <a:pt x="262" y="216"/>
                  </a:lnTo>
                  <a:lnTo>
                    <a:pt x="258" y="202"/>
                  </a:lnTo>
                  <a:lnTo>
                    <a:pt x="252" y="196"/>
                  </a:lnTo>
                  <a:lnTo>
                    <a:pt x="240" y="184"/>
                  </a:lnTo>
                  <a:lnTo>
                    <a:pt x="230" y="180"/>
                  </a:lnTo>
                  <a:lnTo>
                    <a:pt x="220" y="178"/>
                  </a:lnTo>
                  <a:lnTo>
                    <a:pt x="214" y="176"/>
                  </a:lnTo>
                  <a:lnTo>
                    <a:pt x="214" y="170"/>
                  </a:lnTo>
                  <a:lnTo>
                    <a:pt x="218" y="166"/>
                  </a:lnTo>
                  <a:lnTo>
                    <a:pt x="228" y="164"/>
                  </a:lnTo>
                  <a:lnTo>
                    <a:pt x="238" y="168"/>
                  </a:lnTo>
                  <a:lnTo>
                    <a:pt x="244" y="170"/>
                  </a:lnTo>
                  <a:lnTo>
                    <a:pt x="250" y="162"/>
                  </a:lnTo>
                  <a:lnTo>
                    <a:pt x="248" y="154"/>
                  </a:lnTo>
                  <a:lnTo>
                    <a:pt x="288" y="118"/>
                  </a:lnTo>
                  <a:lnTo>
                    <a:pt x="294" y="110"/>
                  </a:lnTo>
                  <a:lnTo>
                    <a:pt x="294" y="94"/>
                  </a:lnTo>
                  <a:lnTo>
                    <a:pt x="284" y="86"/>
                  </a:lnTo>
                  <a:lnTo>
                    <a:pt x="274" y="84"/>
                  </a:lnTo>
                  <a:lnTo>
                    <a:pt x="264" y="70"/>
                  </a:lnTo>
                  <a:lnTo>
                    <a:pt x="244" y="70"/>
                  </a:lnTo>
                  <a:lnTo>
                    <a:pt x="226" y="72"/>
                  </a:lnTo>
                  <a:lnTo>
                    <a:pt x="224" y="72"/>
                  </a:lnTo>
                  <a:lnTo>
                    <a:pt x="218" y="66"/>
                  </a:lnTo>
                  <a:lnTo>
                    <a:pt x="226" y="60"/>
                  </a:lnTo>
                  <a:lnTo>
                    <a:pt x="234" y="52"/>
                  </a:lnTo>
                  <a:lnTo>
                    <a:pt x="252" y="36"/>
                  </a:lnTo>
                  <a:lnTo>
                    <a:pt x="266" y="36"/>
                  </a:lnTo>
                  <a:lnTo>
                    <a:pt x="278" y="26"/>
                  </a:lnTo>
                  <a:lnTo>
                    <a:pt x="290" y="16"/>
                  </a:lnTo>
                  <a:lnTo>
                    <a:pt x="262" y="10"/>
                  </a:lnTo>
                  <a:lnTo>
                    <a:pt x="250" y="8"/>
                  </a:lnTo>
                  <a:lnTo>
                    <a:pt x="236" y="8"/>
                  </a:lnTo>
                  <a:lnTo>
                    <a:pt x="220" y="0"/>
                  </a:lnTo>
                  <a:lnTo>
                    <a:pt x="206" y="16"/>
                  </a:lnTo>
                  <a:lnTo>
                    <a:pt x="206" y="24"/>
                  </a:lnTo>
                  <a:lnTo>
                    <a:pt x="198" y="26"/>
                  </a:lnTo>
                  <a:lnTo>
                    <a:pt x="184" y="34"/>
                  </a:lnTo>
                  <a:lnTo>
                    <a:pt x="172" y="38"/>
                  </a:lnTo>
                  <a:lnTo>
                    <a:pt x="172" y="50"/>
                  </a:lnTo>
                  <a:lnTo>
                    <a:pt x="170" y="60"/>
                  </a:lnTo>
                  <a:lnTo>
                    <a:pt x="160" y="74"/>
                  </a:lnTo>
                  <a:lnTo>
                    <a:pt x="142" y="94"/>
                  </a:lnTo>
                  <a:lnTo>
                    <a:pt x="136" y="102"/>
                  </a:lnTo>
                  <a:lnTo>
                    <a:pt x="138" y="110"/>
                  </a:lnTo>
                  <a:lnTo>
                    <a:pt x="158" y="108"/>
                  </a:lnTo>
                  <a:lnTo>
                    <a:pt x="158" y="112"/>
                  </a:lnTo>
                  <a:lnTo>
                    <a:pt x="158" y="118"/>
                  </a:lnTo>
                  <a:lnTo>
                    <a:pt x="134" y="148"/>
                  </a:lnTo>
                  <a:lnTo>
                    <a:pt x="124" y="166"/>
                  </a:lnTo>
                  <a:lnTo>
                    <a:pt x="118" y="180"/>
                  </a:lnTo>
                  <a:lnTo>
                    <a:pt x="124" y="186"/>
                  </a:lnTo>
                  <a:lnTo>
                    <a:pt x="136" y="174"/>
                  </a:lnTo>
                  <a:lnTo>
                    <a:pt x="148" y="158"/>
                  </a:lnTo>
                  <a:lnTo>
                    <a:pt x="156" y="162"/>
                  </a:lnTo>
                  <a:lnTo>
                    <a:pt x="158" y="184"/>
                  </a:lnTo>
                  <a:lnTo>
                    <a:pt x="158" y="200"/>
                  </a:lnTo>
                  <a:lnTo>
                    <a:pt x="144" y="208"/>
                  </a:lnTo>
                  <a:lnTo>
                    <a:pt x="134" y="218"/>
                  </a:lnTo>
                  <a:lnTo>
                    <a:pt x="130" y="226"/>
                  </a:lnTo>
                  <a:lnTo>
                    <a:pt x="150" y="242"/>
                  </a:lnTo>
                  <a:lnTo>
                    <a:pt x="168" y="238"/>
                  </a:lnTo>
                  <a:lnTo>
                    <a:pt x="170" y="248"/>
                  </a:lnTo>
                  <a:lnTo>
                    <a:pt x="188" y="236"/>
                  </a:lnTo>
                  <a:lnTo>
                    <a:pt x="186" y="246"/>
                  </a:lnTo>
                  <a:lnTo>
                    <a:pt x="172" y="262"/>
                  </a:lnTo>
                  <a:lnTo>
                    <a:pt x="178" y="282"/>
                  </a:lnTo>
                  <a:lnTo>
                    <a:pt x="180" y="292"/>
                  </a:lnTo>
                  <a:lnTo>
                    <a:pt x="196" y="294"/>
                  </a:lnTo>
                  <a:lnTo>
                    <a:pt x="196" y="302"/>
                  </a:lnTo>
                  <a:lnTo>
                    <a:pt x="178" y="324"/>
                  </a:lnTo>
                  <a:lnTo>
                    <a:pt x="172" y="320"/>
                  </a:lnTo>
                  <a:lnTo>
                    <a:pt x="166" y="328"/>
                  </a:lnTo>
                  <a:lnTo>
                    <a:pt x="164" y="338"/>
                  </a:lnTo>
                  <a:lnTo>
                    <a:pt x="146" y="328"/>
                  </a:lnTo>
                  <a:lnTo>
                    <a:pt x="100" y="34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11" name="Freeform 105"/>
            <p:cNvSpPr>
              <a:spLocks/>
            </p:cNvSpPr>
            <p:nvPr/>
          </p:nvSpPr>
          <p:spPr bwMode="auto">
            <a:xfrm>
              <a:off x="1410494" y="1938843"/>
              <a:ext cx="229854" cy="390917"/>
            </a:xfrm>
            <a:custGeom>
              <a:avLst/>
              <a:gdLst>
                <a:gd name="T0" fmla="*/ 108 w 334"/>
                <a:gd name="T1" fmla="*/ 372 h 538"/>
                <a:gd name="T2" fmla="*/ 72 w 334"/>
                <a:gd name="T3" fmla="*/ 396 h 538"/>
                <a:gd name="T4" fmla="*/ 62 w 334"/>
                <a:gd name="T5" fmla="*/ 418 h 538"/>
                <a:gd name="T6" fmla="*/ 84 w 334"/>
                <a:gd name="T7" fmla="*/ 430 h 538"/>
                <a:gd name="T8" fmla="*/ 102 w 334"/>
                <a:gd name="T9" fmla="*/ 438 h 538"/>
                <a:gd name="T10" fmla="*/ 134 w 334"/>
                <a:gd name="T11" fmla="*/ 444 h 538"/>
                <a:gd name="T12" fmla="*/ 112 w 334"/>
                <a:gd name="T13" fmla="*/ 470 h 538"/>
                <a:gd name="T14" fmla="*/ 64 w 334"/>
                <a:gd name="T15" fmla="*/ 456 h 538"/>
                <a:gd name="T16" fmla="*/ 30 w 334"/>
                <a:gd name="T17" fmla="*/ 484 h 538"/>
                <a:gd name="T18" fmla="*/ 2 w 334"/>
                <a:gd name="T19" fmla="*/ 498 h 538"/>
                <a:gd name="T20" fmla="*/ 16 w 334"/>
                <a:gd name="T21" fmla="*/ 510 h 538"/>
                <a:gd name="T22" fmla="*/ 44 w 334"/>
                <a:gd name="T23" fmla="*/ 506 h 538"/>
                <a:gd name="T24" fmla="*/ 82 w 334"/>
                <a:gd name="T25" fmla="*/ 522 h 538"/>
                <a:gd name="T26" fmla="*/ 110 w 334"/>
                <a:gd name="T27" fmla="*/ 496 h 538"/>
                <a:gd name="T28" fmla="*/ 136 w 334"/>
                <a:gd name="T29" fmla="*/ 512 h 538"/>
                <a:gd name="T30" fmla="*/ 170 w 334"/>
                <a:gd name="T31" fmla="*/ 518 h 538"/>
                <a:gd name="T32" fmla="*/ 196 w 334"/>
                <a:gd name="T33" fmla="*/ 514 h 538"/>
                <a:gd name="T34" fmla="*/ 232 w 334"/>
                <a:gd name="T35" fmla="*/ 530 h 538"/>
                <a:gd name="T36" fmla="*/ 264 w 334"/>
                <a:gd name="T37" fmla="*/ 532 h 538"/>
                <a:gd name="T38" fmla="*/ 294 w 334"/>
                <a:gd name="T39" fmla="*/ 522 h 538"/>
                <a:gd name="T40" fmla="*/ 282 w 334"/>
                <a:gd name="T41" fmla="*/ 496 h 538"/>
                <a:gd name="T42" fmla="*/ 284 w 334"/>
                <a:gd name="T43" fmla="*/ 480 h 538"/>
                <a:gd name="T44" fmla="*/ 322 w 334"/>
                <a:gd name="T45" fmla="*/ 456 h 538"/>
                <a:gd name="T46" fmla="*/ 334 w 334"/>
                <a:gd name="T47" fmla="*/ 422 h 538"/>
                <a:gd name="T48" fmla="*/ 306 w 334"/>
                <a:gd name="T49" fmla="*/ 402 h 538"/>
                <a:gd name="T50" fmla="*/ 284 w 334"/>
                <a:gd name="T51" fmla="*/ 400 h 538"/>
                <a:gd name="T52" fmla="*/ 292 w 334"/>
                <a:gd name="T53" fmla="*/ 368 h 538"/>
                <a:gd name="T54" fmla="*/ 292 w 334"/>
                <a:gd name="T55" fmla="*/ 322 h 538"/>
                <a:gd name="T56" fmla="*/ 262 w 334"/>
                <a:gd name="T57" fmla="*/ 270 h 538"/>
                <a:gd name="T58" fmla="*/ 262 w 334"/>
                <a:gd name="T59" fmla="*/ 228 h 538"/>
                <a:gd name="T60" fmla="*/ 252 w 334"/>
                <a:gd name="T61" fmla="*/ 196 h 538"/>
                <a:gd name="T62" fmla="*/ 220 w 334"/>
                <a:gd name="T63" fmla="*/ 178 h 538"/>
                <a:gd name="T64" fmla="*/ 218 w 334"/>
                <a:gd name="T65" fmla="*/ 166 h 538"/>
                <a:gd name="T66" fmla="*/ 244 w 334"/>
                <a:gd name="T67" fmla="*/ 170 h 538"/>
                <a:gd name="T68" fmla="*/ 288 w 334"/>
                <a:gd name="T69" fmla="*/ 118 h 538"/>
                <a:gd name="T70" fmla="*/ 284 w 334"/>
                <a:gd name="T71" fmla="*/ 86 h 538"/>
                <a:gd name="T72" fmla="*/ 244 w 334"/>
                <a:gd name="T73" fmla="*/ 70 h 538"/>
                <a:gd name="T74" fmla="*/ 218 w 334"/>
                <a:gd name="T75" fmla="*/ 66 h 538"/>
                <a:gd name="T76" fmla="*/ 252 w 334"/>
                <a:gd name="T77" fmla="*/ 36 h 538"/>
                <a:gd name="T78" fmla="*/ 290 w 334"/>
                <a:gd name="T79" fmla="*/ 16 h 538"/>
                <a:gd name="T80" fmla="*/ 236 w 334"/>
                <a:gd name="T81" fmla="*/ 8 h 538"/>
                <a:gd name="T82" fmla="*/ 206 w 334"/>
                <a:gd name="T83" fmla="*/ 24 h 538"/>
                <a:gd name="T84" fmla="*/ 172 w 334"/>
                <a:gd name="T85" fmla="*/ 38 h 538"/>
                <a:gd name="T86" fmla="*/ 160 w 334"/>
                <a:gd name="T87" fmla="*/ 74 h 538"/>
                <a:gd name="T88" fmla="*/ 138 w 334"/>
                <a:gd name="T89" fmla="*/ 110 h 538"/>
                <a:gd name="T90" fmla="*/ 158 w 334"/>
                <a:gd name="T91" fmla="*/ 118 h 538"/>
                <a:gd name="T92" fmla="*/ 118 w 334"/>
                <a:gd name="T93" fmla="*/ 180 h 538"/>
                <a:gd name="T94" fmla="*/ 148 w 334"/>
                <a:gd name="T95" fmla="*/ 158 h 538"/>
                <a:gd name="T96" fmla="*/ 158 w 334"/>
                <a:gd name="T97" fmla="*/ 200 h 538"/>
                <a:gd name="T98" fmla="*/ 130 w 334"/>
                <a:gd name="T99" fmla="*/ 226 h 538"/>
                <a:gd name="T100" fmla="*/ 170 w 334"/>
                <a:gd name="T101" fmla="*/ 248 h 538"/>
                <a:gd name="T102" fmla="*/ 172 w 334"/>
                <a:gd name="T103" fmla="*/ 262 h 538"/>
                <a:gd name="T104" fmla="*/ 196 w 334"/>
                <a:gd name="T105" fmla="*/ 294 h 538"/>
                <a:gd name="T106" fmla="*/ 172 w 334"/>
                <a:gd name="T107" fmla="*/ 320 h 538"/>
                <a:gd name="T108" fmla="*/ 146 w 334"/>
                <a:gd name="T109" fmla="*/ 32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34" h="538">
                  <a:moveTo>
                    <a:pt x="100" y="344"/>
                  </a:moveTo>
                  <a:lnTo>
                    <a:pt x="116" y="358"/>
                  </a:lnTo>
                  <a:lnTo>
                    <a:pt x="108" y="372"/>
                  </a:lnTo>
                  <a:lnTo>
                    <a:pt x="100" y="382"/>
                  </a:lnTo>
                  <a:lnTo>
                    <a:pt x="84" y="390"/>
                  </a:lnTo>
                  <a:lnTo>
                    <a:pt x="72" y="396"/>
                  </a:lnTo>
                  <a:lnTo>
                    <a:pt x="60" y="398"/>
                  </a:lnTo>
                  <a:lnTo>
                    <a:pt x="52" y="402"/>
                  </a:lnTo>
                  <a:lnTo>
                    <a:pt x="62" y="418"/>
                  </a:lnTo>
                  <a:lnTo>
                    <a:pt x="76" y="418"/>
                  </a:lnTo>
                  <a:lnTo>
                    <a:pt x="84" y="420"/>
                  </a:lnTo>
                  <a:lnTo>
                    <a:pt x="84" y="430"/>
                  </a:lnTo>
                  <a:lnTo>
                    <a:pt x="92" y="430"/>
                  </a:lnTo>
                  <a:lnTo>
                    <a:pt x="98" y="428"/>
                  </a:lnTo>
                  <a:lnTo>
                    <a:pt x="102" y="438"/>
                  </a:lnTo>
                  <a:lnTo>
                    <a:pt x="110" y="448"/>
                  </a:lnTo>
                  <a:lnTo>
                    <a:pt x="124" y="448"/>
                  </a:lnTo>
                  <a:lnTo>
                    <a:pt x="134" y="444"/>
                  </a:lnTo>
                  <a:lnTo>
                    <a:pt x="142" y="448"/>
                  </a:lnTo>
                  <a:lnTo>
                    <a:pt x="120" y="466"/>
                  </a:lnTo>
                  <a:lnTo>
                    <a:pt x="112" y="470"/>
                  </a:lnTo>
                  <a:lnTo>
                    <a:pt x="102" y="466"/>
                  </a:lnTo>
                  <a:lnTo>
                    <a:pt x="76" y="456"/>
                  </a:lnTo>
                  <a:lnTo>
                    <a:pt x="64" y="456"/>
                  </a:lnTo>
                  <a:lnTo>
                    <a:pt x="54" y="466"/>
                  </a:lnTo>
                  <a:lnTo>
                    <a:pt x="38" y="478"/>
                  </a:lnTo>
                  <a:lnTo>
                    <a:pt x="30" y="484"/>
                  </a:lnTo>
                  <a:lnTo>
                    <a:pt x="20" y="486"/>
                  </a:lnTo>
                  <a:lnTo>
                    <a:pt x="10" y="492"/>
                  </a:lnTo>
                  <a:lnTo>
                    <a:pt x="2" y="498"/>
                  </a:lnTo>
                  <a:lnTo>
                    <a:pt x="0" y="502"/>
                  </a:lnTo>
                  <a:lnTo>
                    <a:pt x="10" y="504"/>
                  </a:lnTo>
                  <a:lnTo>
                    <a:pt x="16" y="510"/>
                  </a:lnTo>
                  <a:lnTo>
                    <a:pt x="26" y="514"/>
                  </a:lnTo>
                  <a:lnTo>
                    <a:pt x="36" y="510"/>
                  </a:lnTo>
                  <a:lnTo>
                    <a:pt x="44" y="506"/>
                  </a:lnTo>
                  <a:lnTo>
                    <a:pt x="54" y="508"/>
                  </a:lnTo>
                  <a:lnTo>
                    <a:pt x="68" y="516"/>
                  </a:lnTo>
                  <a:lnTo>
                    <a:pt x="82" y="522"/>
                  </a:lnTo>
                  <a:lnTo>
                    <a:pt x="90" y="516"/>
                  </a:lnTo>
                  <a:lnTo>
                    <a:pt x="94" y="506"/>
                  </a:lnTo>
                  <a:lnTo>
                    <a:pt x="110" y="496"/>
                  </a:lnTo>
                  <a:lnTo>
                    <a:pt x="118" y="496"/>
                  </a:lnTo>
                  <a:lnTo>
                    <a:pt x="128" y="506"/>
                  </a:lnTo>
                  <a:lnTo>
                    <a:pt x="136" y="512"/>
                  </a:lnTo>
                  <a:lnTo>
                    <a:pt x="146" y="512"/>
                  </a:lnTo>
                  <a:lnTo>
                    <a:pt x="162" y="514"/>
                  </a:lnTo>
                  <a:lnTo>
                    <a:pt x="170" y="518"/>
                  </a:lnTo>
                  <a:lnTo>
                    <a:pt x="180" y="510"/>
                  </a:lnTo>
                  <a:lnTo>
                    <a:pt x="188" y="510"/>
                  </a:lnTo>
                  <a:lnTo>
                    <a:pt x="196" y="514"/>
                  </a:lnTo>
                  <a:lnTo>
                    <a:pt x="206" y="526"/>
                  </a:lnTo>
                  <a:lnTo>
                    <a:pt x="218" y="526"/>
                  </a:lnTo>
                  <a:lnTo>
                    <a:pt x="232" y="530"/>
                  </a:lnTo>
                  <a:lnTo>
                    <a:pt x="242" y="534"/>
                  </a:lnTo>
                  <a:lnTo>
                    <a:pt x="254" y="538"/>
                  </a:lnTo>
                  <a:lnTo>
                    <a:pt x="264" y="532"/>
                  </a:lnTo>
                  <a:lnTo>
                    <a:pt x="276" y="526"/>
                  </a:lnTo>
                  <a:lnTo>
                    <a:pt x="284" y="524"/>
                  </a:lnTo>
                  <a:lnTo>
                    <a:pt x="294" y="522"/>
                  </a:lnTo>
                  <a:lnTo>
                    <a:pt x="304" y="514"/>
                  </a:lnTo>
                  <a:lnTo>
                    <a:pt x="298" y="506"/>
                  </a:lnTo>
                  <a:lnTo>
                    <a:pt x="282" y="496"/>
                  </a:lnTo>
                  <a:lnTo>
                    <a:pt x="276" y="492"/>
                  </a:lnTo>
                  <a:lnTo>
                    <a:pt x="276" y="486"/>
                  </a:lnTo>
                  <a:lnTo>
                    <a:pt x="284" y="480"/>
                  </a:lnTo>
                  <a:lnTo>
                    <a:pt x="294" y="480"/>
                  </a:lnTo>
                  <a:lnTo>
                    <a:pt x="306" y="474"/>
                  </a:lnTo>
                  <a:lnTo>
                    <a:pt x="322" y="456"/>
                  </a:lnTo>
                  <a:lnTo>
                    <a:pt x="332" y="446"/>
                  </a:lnTo>
                  <a:lnTo>
                    <a:pt x="334" y="430"/>
                  </a:lnTo>
                  <a:lnTo>
                    <a:pt x="334" y="422"/>
                  </a:lnTo>
                  <a:lnTo>
                    <a:pt x="326" y="414"/>
                  </a:lnTo>
                  <a:lnTo>
                    <a:pt x="314" y="406"/>
                  </a:lnTo>
                  <a:lnTo>
                    <a:pt x="306" y="402"/>
                  </a:lnTo>
                  <a:lnTo>
                    <a:pt x="294" y="404"/>
                  </a:lnTo>
                  <a:lnTo>
                    <a:pt x="288" y="408"/>
                  </a:lnTo>
                  <a:lnTo>
                    <a:pt x="284" y="400"/>
                  </a:lnTo>
                  <a:lnTo>
                    <a:pt x="290" y="390"/>
                  </a:lnTo>
                  <a:lnTo>
                    <a:pt x="292" y="382"/>
                  </a:lnTo>
                  <a:lnTo>
                    <a:pt x="292" y="368"/>
                  </a:lnTo>
                  <a:lnTo>
                    <a:pt x="290" y="348"/>
                  </a:lnTo>
                  <a:lnTo>
                    <a:pt x="294" y="332"/>
                  </a:lnTo>
                  <a:lnTo>
                    <a:pt x="292" y="322"/>
                  </a:lnTo>
                  <a:lnTo>
                    <a:pt x="284" y="310"/>
                  </a:lnTo>
                  <a:lnTo>
                    <a:pt x="268" y="282"/>
                  </a:lnTo>
                  <a:lnTo>
                    <a:pt x="262" y="270"/>
                  </a:lnTo>
                  <a:lnTo>
                    <a:pt x="258" y="254"/>
                  </a:lnTo>
                  <a:lnTo>
                    <a:pt x="258" y="244"/>
                  </a:lnTo>
                  <a:lnTo>
                    <a:pt x="262" y="228"/>
                  </a:lnTo>
                  <a:lnTo>
                    <a:pt x="262" y="216"/>
                  </a:lnTo>
                  <a:lnTo>
                    <a:pt x="258" y="202"/>
                  </a:lnTo>
                  <a:lnTo>
                    <a:pt x="252" y="196"/>
                  </a:lnTo>
                  <a:lnTo>
                    <a:pt x="240" y="184"/>
                  </a:lnTo>
                  <a:lnTo>
                    <a:pt x="230" y="180"/>
                  </a:lnTo>
                  <a:lnTo>
                    <a:pt x="220" y="178"/>
                  </a:lnTo>
                  <a:lnTo>
                    <a:pt x="214" y="176"/>
                  </a:lnTo>
                  <a:lnTo>
                    <a:pt x="214" y="170"/>
                  </a:lnTo>
                  <a:lnTo>
                    <a:pt x="218" y="166"/>
                  </a:lnTo>
                  <a:lnTo>
                    <a:pt x="228" y="164"/>
                  </a:lnTo>
                  <a:lnTo>
                    <a:pt x="238" y="168"/>
                  </a:lnTo>
                  <a:lnTo>
                    <a:pt x="244" y="170"/>
                  </a:lnTo>
                  <a:lnTo>
                    <a:pt x="250" y="162"/>
                  </a:lnTo>
                  <a:lnTo>
                    <a:pt x="248" y="154"/>
                  </a:lnTo>
                  <a:lnTo>
                    <a:pt x="288" y="118"/>
                  </a:lnTo>
                  <a:lnTo>
                    <a:pt x="294" y="110"/>
                  </a:lnTo>
                  <a:lnTo>
                    <a:pt x="294" y="94"/>
                  </a:lnTo>
                  <a:lnTo>
                    <a:pt x="284" y="86"/>
                  </a:lnTo>
                  <a:lnTo>
                    <a:pt x="274" y="84"/>
                  </a:lnTo>
                  <a:lnTo>
                    <a:pt x="264" y="70"/>
                  </a:lnTo>
                  <a:lnTo>
                    <a:pt x="244" y="70"/>
                  </a:lnTo>
                  <a:lnTo>
                    <a:pt x="226" y="72"/>
                  </a:lnTo>
                  <a:lnTo>
                    <a:pt x="224" y="72"/>
                  </a:lnTo>
                  <a:lnTo>
                    <a:pt x="218" y="66"/>
                  </a:lnTo>
                  <a:lnTo>
                    <a:pt x="226" y="60"/>
                  </a:lnTo>
                  <a:lnTo>
                    <a:pt x="234" y="52"/>
                  </a:lnTo>
                  <a:lnTo>
                    <a:pt x="252" y="36"/>
                  </a:lnTo>
                  <a:lnTo>
                    <a:pt x="266" y="36"/>
                  </a:lnTo>
                  <a:lnTo>
                    <a:pt x="278" y="26"/>
                  </a:lnTo>
                  <a:lnTo>
                    <a:pt x="290" y="16"/>
                  </a:lnTo>
                  <a:lnTo>
                    <a:pt x="262" y="10"/>
                  </a:lnTo>
                  <a:lnTo>
                    <a:pt x="250" y="8"/>
                  </a:lnTo>
                  <a:lnTo>
                    <a:pt x="236" y="8"/>
                  </a:lnTo>
                  <a:lnTo>
                    <a:pt x="220" y="0"/>
                  </a:lnTo>
                  <a:lnTo>
                    <a:pt x="206" y="16"/>
                  </a:lnTo>
                  <a:lnTo>
                    <a:pt x="206" y="24"/>
                  </a:lnTo>
                  <a:lnTo>
                    <a:pt x="198" y="26"/>
                  </a:lnTo>
                  <a:lnTo>
                    <a:pt x="184" y="34"/>
                  </a:lnTo>
                  <a:lnTo>
                    <a:pt x="172" y="38"/>
                  </a:lnTo>
                  <a:lnTo>
                    <a:pt x="172" y="50"/>
                  </a:lnTo>
                  <a:lnTo>
                    <a:pt x="170" y="60"/>
                  </a:lnTo>
                  <a:lnTo>
                    <a:pt x="160" y="74"/>
                  </a:lnTo>
                  <a:lnTo>
                    <a:pt x="142" y="94"/>
                  </a:lnTo>
                  <a:lnTo>
                    <a:pt x="136" y="102"/>
                  </a:lnTo>
                  <a:lnTo>
                    <a:pt x="138" y="110"/>
                  </a:lnTo>
                  <a:lnTo>
                    <a:pt x="158" y="108"/>
                  </a:lnTo>
                  <a:lnTo>
                    <a:pt x="158" y="112"/>
                  </a:lnTo>
                  <a:lnTo>
                    <a:pt x="158" y="118"/>
                  </a:lnTo>
                  <a:lnTo>
                    <a:pt x="134" y="148"/>
                  </a:lnTo>
                  <a:lnTo>
                    <a:pt x="124" y="166"/>
                  </a:lnTo>
                  <a:lnTo>
                    <a:pt x="118" y="180"/>
                  </a:lnTo>
                  <a:lnTo>
                    <a:pt x="124" y="186"/>
                  </a:lnTo>
                  <a:lnTo>
                    <a:pt x="136" y="174"/>
                  </a:lnTo>
                  <a:lnTo>
                    <a:pt x="148" y="158"/>
                  </a:lnTo>
                  <a:lnTo>
                    <a:pt x="156" y="162"/>
                  </a:lnTo>
                  <a:lnTo>
                    <a:pt x="158" y="184"/>
                  </a:lnTo>
                  <a:lnTo>
                    <a:pt x="158" y="200"/>
                  </a:lnTo>
                  <a:lnTo>
                    <a:pt x="144" y="208"/>
                  </a:lnTo>
                  <a:lnTo>
                    <a:pt x="134" y="218"/>
                  </a:lnTo>
                  <a:lnTo>
                    <a:pt x="130" y="226"/>
                  </a:lnTo>
                  <a:lnTo>
                    <a:pt x="150" y="242"/>
                  </a:lnTo>
                  <a:lnTo>
                    <a:pt x="168" y="238"/>
                  </a:lnTo>
                  <a:lnTo>
                    <a:pt x="170" y="248"/>
                  </a:lnTo>
                  <a:lnTo>
                    <a:pt x="188" y="236"/>
                  </a:lnTo>
                  <a:lnTo>
                    <a:pt x="186" y="246"/>
                  </a:lnTo>
                  <a:lnTo>
                    <a:pt x="172" y="262"/>
                  </a:lnTo>
                  <a:lnTo>
                    <a:pt x="178" y="282"/>
                  </a:lnTo>
                  <a:lnTo>
                    <a:pt x="180" y="292"/>
                  </a:lnTo>
                  <a:lnTo>
                    <a:pt x="196" y="294"/>
                  </a:lnTo>
                  <a:lnTo>
                    <a:pt x="196" y="302"/>
                  </a:lnTo>
                  <a:lnTo>
                    <a:pt x="178" y="324"/>
                  </a:lnTo>
                  <a:lnTo>
                    <a:pt x="172" y="320"/>
                  </a:lnTo>
                  <a:lnTo>
                    <a:pt x="166" y="328"/>
                  </a:lnTo>
                  <a:lnTo>
                    <a:pt x="164" y="338"/>
                  </a:lnTo>
                  <a:lnTo>
                    <a:pt x="146" y="328"/>
                  </a:lnTo>
                  <a:lnTo>
                    <a:pt x="100" y="34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12" name="Freeform 106"/>
            <p:cNvSpPr>
              <a:spLocks/>
            </p:cNvSpPr>
            <p:nvPr/>
          </p:nvSpPr>
          <p:spPr bwMode="auto">
            <a:xfrm>
              <a:off x="1494452" y="2127762"/>
              <a:ext cx="19269" cy="14532"/>
            </a:xfrm>
            <a:custGeom>
              <a:avLst/>
              <a:gdLst>
                <a:gd name="T0" fmla="*/ 14 w 28"/>
                <a:gd name="T1" fmla="*/ 0 h 20"/>
                <a:gd name="T2" fmla="*/ 26 w 28"/>
                <a:gd name="T3" fmla="*/ 2 h 20"/>
                <a:gd name="T4" fmla="*/ 28 w 28"/>
                <a:gd name="T5" fmla="*/ 8 h 20"/>
                <a:gd name="T6" fmla="*/ 14 w 28"/>
                <a:gd name="T7" fmla="*/ 16 h 20"/>
                <a:gd name="T8" fmla="*/ 0 w 28"/>
                <a:gd name="T9" fmla="*/ 20 h 20"/>
                <a:gd name="T10" fmla="*/ 0 w 28"/>
                <a:gd name="T11" fmla="*/ 10 h 20"/>
                <a:gd name="T12" fmla="*/ 14 w 2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0">
                  <a:moveTo>
                    <a:pt x="14" y="0"/>
                  </a:moveTo>
                  <a:lnTo>
                    <a:pt x="26" y="2"/>
                  </a:lnTo>
                  <a:lnTo>
                    <a:pt x="28" y="8"/>
                  </a:lnTo>
                  <a:lnTo>
                    <a:pt x="14" y="16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13" name="Freeform 107"/>
            <p:cNvSpPr>
              <a:spLocks/>
            </p:cNvSpPr>
            <p:nvPr/>
          </p:nvSpPr>
          <p:spPr bwMode="auto">
            <a:xfrm>
              <a:off x="1494452" y="2127762"/>
              <a:ext cx="19269" cy="14532"/>
            </a:xfrm>
            <a:custGeom>
              <a:avLst/>
              <a:gdLst>
                <a:gd name="T0" fmla="*/ 14 w 28"/>
                <a:gd name="T1" fmla="*/ 0 h 20"/>
                <a:gd name="T2" fmla="*/ 26 w 28"/>
                <a:gd name="T3" fmla="*/ 2 h 20"/>
                <a:gd name="T4" fmla="*/ 28 w 28"/>
                <a:gd name="T5" fmla="*/ 8 h 20"/>
                <a:gd name="T6" fmla="*/ 14 w 28"/>
                <a:gd name="T7" fmla="*/ 16 h 20"/>
                <a:gd name="T8" fmla="*/ 0 w 28"/>
                <a:gd name="T9" fmla="*/ 20 h 20"/>
                <a:gd name="T10" fmla="*/ 0 w 28"/>
                <a:gd name="T11" fmla="*/ 10 h 20"/>
                <a:gd name="T12" fmla="*/ 14 w 2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0">
                  <a:moveTo>
                    <a:pt x="14" y="0"/>
                  </a:moveTo>
                  <a:lnTo>
                    <a:pt x="26" y="2"/>
                  </a:lnTo>
                  <a:lnTo>
                    <a:pt x="28" y="8"/>
                  </a:lnTo>
                  <a:lnTo>
                    <a:pt x="14" y="16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14" name="Freeform 108"/>
            <p:cNvSpPr>
              <a:spLocks/>
            </p:cNvSpPr>
            <p:nvPr/>
          </p:nvSpPr>
          <p:spPr bwMode="auto">
            <a:xfrm>
              <a:off x="1480688" y="2036209"/>
              <a:ext cx="19269" cy="14532"/>
            </a:xfrm>
            <a:custGeom>
              <a:avLst/>
              <a:gdLst>
                <a:gd name="T0" fmla="*/ 22 w 28"/>
                <a:gd name="T1" fmla="*/ 0 h 20"/>
                <a:gd name="T2" fmla="*/ 28 w 28"/>
                <a:gd name="T3" fmla="*/ 10 h 20"/>
                <a:gd name="T4" fmla="*/ 14 w 28"/>
                <a:gd name="T5" fmla="*/ 16 h 20"/>
                <a:gd name="T6" fmla="*/ 2 w 28"/>
                <a:gd name="T7" fmla="*/ 20 h 20"/>
                <a:gd name="T8" fmla="*/ 0 w 28"/>
                <a:gd name="T9" fmla="*/ 10 h 20"/>
                <a:gd name="T10" fmla="*/ 4 w 28"/>
                <a:gd name="T11" fmla="*/ 4 h 20"/>
                <a:gd name="T12" fmla="*/ 22 w 2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0">
                  <a:moveTo>
                    <a:pt x="22" y="0"/>
                  </a:moveTo>
                  <a:lnTo>
                    <a:pt x="28" y="10"/>
                  </a:lnTo>
                  <a:lnTo>
                    <a:pt x="14" y="16"/>
                  </a:lnTo>
                  <a:lnTo>
                    <a:pt x="2" y="20"/>
                  </a:lnTo>
                  <a:lnTo>
                    <a:pt x="0" y="10"/>
                  </a:lnTo>
                  <a:lnTo>
                    <a:pt x="4" y="4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15" name="Freeform 109"/>
            <p:cNvSpPr>
              <a:spLocks/>
            </p:cNvSpPr>
            <p:nvPr/>
          </p:nvSpPr>
          <p:spPr bwMode="auto">
            <a:xfrm>
              <a:off x="1480688" y="2036209"/>
              <a:ext cx="19269" cy="14532"/>
            </a:xfrm>
            <a:custGeom>
              <a:avLst/>
              <a:gdLst>
                <a:gd name="T0" fmla="*/ 22 w 28"/>
                <a:gd name="T1" fmla="*/ 0 h 20"/>
                <a:gd name="T2" fmla="*/ 28 w 28"/>
                <a:gd name="T3" fmla="*/ 10 h 20"/>
                <a:gd name="T4" fmla="*/ 14 w 28"/>
                <a:gd name="T5" fmla="*/ 16 h 20"/>
                <a:gd name="T6" fmla="*/ 2 w 28"/>
                <a:gd name="T7" fmla="*/ 20 h 20"/>
                <a:gd name="T8" fmla="*/ 0 w 28"/>
                <a:gd name="T9" fmla="*/ 10 h 20"/>
                <a:gd name="T10" fmla="*/ 4 w 28"/>
                <a:gd name="T11" fmla="*/ 4 h 20"/>
                <a:gd name="T12" fmla="*/ 22 w 28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0">
                  <a:moveTo>
                    <a:pt x="22" y="0"/>
                  </a:moveTo>
                  <a:lnTo>
                    <a:pt x="28" y="10"/>
                  </a:lnTo>
                  <a:lnTo>
                    <a:pt x="14" y="16"/>
                  </a:lnTo>
                  <a:lnTo>
                    <a:pt x="2" y="20"/>
                  </a:lnTo>
                  <a:lnTo>
                    <a:pt x="0" y="10"/>
                  </a:lnTo>
                  <a:lnTo>
                    <a:pt x="4" y="4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16" name="Freeform 110"/>
            <p:cNvSpPr>
              <a:spLocks/>
            </p:cNvSpPr>
            <p:nvPr/>
          </p:nvSpPr>
          <p:spPr bwMode="auto">
            <a:xfrm>
              <a:off x="1508216" y="1965001"/>
              <a:ext cx="11011" cy="27611"/>
            </a:xfrm>
            <a:custGeom>
              <a:avLst/>
              <a:gdLst>
                <a:gd name="T0" fmla="*/ 6 w 16"/>
                <a:gd name="T1" fmla="*/ 38 h 38"/>
                <a:gd name="T2" fmla="*/ 16 w 16"/>
                <a:gd name="T3" fmla="*/ 28 h 38"/>
                <a:gd name="T4" fmla="*/ 12 w 16"/>
                <a:gd name="T5" fmla="*/ 16 h 38"/>
                <a:gd name="T6" fmla="*/ 10 w 16"/>
                <a:gd name="T7" fmla="*/ 10 h 38"/>
                <a:gd name="T8" fmla="*/ 6 w 16"/>
                <a:gd name="T9" fmla="*/ 0 h 38"/>
                <a:gd name="T10" fmla="*/ 0 w 16"/>
                <a:gd name="T11" fmla="*/ 4 h 38"/>
                <a:gd name="T12" fmla="*/ 4 w 16"/>
                <a:gd name="T13" fmla="*/ 18 h 38"/>
                <a:gd name="T14" fmla="*/ 6 w 16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8">
                  <a:moveTo>
                    <a:pt x="6" y="38"/>
                  </a:moveTo>
                  <a:lnTo>
                    <a:pt x="16" y="28"/>
                  </a:lnTo>
                  <a:lnTo>
                    <a:pt x="12" y="16"/>
                  </a:lnTo>
                  <a:lnTo>
                    <a:pt x="10" y="10"/>
                  </a:lnTo>
                  <a:lnTo>
                    <a:pt x="6" y="0"/>
                  </a:lnTo>
                  <a:lnTo>
                    <a:pt x="0" y="4"/>
                  </a:lnTo>
                  <a:lnTo>
                    <a:pt x="4" y="18"/>
                  </a:lnTo>
                  <a:lnTo>
                    <a:pt x="6" y="3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17" name="Freeform 111"/>
            <p:cNvSpPr>
              <a:spLocks/>
            </p:cNvSpPr>
            <p:nvPr/>
          </p:nvSpPr>
          <p:spPr bwMode="auto">
            <a:xfrm>
              <a:off x="1508216" y="1965001"/>
              <a:ext cx="11011" cy="27611"/>
            </a:xfrm>
            <a:custGeom>
              <a:avLst/>
              <a:gdLst>
                <a:gd name="T0" fmla="*/ 6 w 16"/>
                <a:gd name="T1" fmla="*/ 38 h 38"/>
                <a:gd name="T2" fmla="*/ 16 w 16"/>
                <a:gd name="T3" fmla="*/ 28 h 38"/>
                <a:gd name="T4" fmla="*/ 12 w 16"/>
                <a:gd name="T5" fmla="*/ 16 h 38"/>
                <a:gd name="T6" fmla="*/ 10 w 16"/>
                <a:gd name="T7" fmla="*/ 10 h 38"/>
                <a:gd name="T8" fmla="*/ 6 w 16"/>
                <a:gd name="T9" fmla="*/ 0 h 38"/>
                <a:gd name="T10" fmla="*/ 0 w 16"/>
                <a:gd name="T11" fmla="*/ 4 h 38"/>
                <a:gd name="T12" fmla="*/ 4 w 16"/>
                <a:gd name="T13" fmla="*/ 18 h 38"/>
                <a:gd name="T14" fmla="*/ 6 w 16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8">
                  <a:moveTo>
                    <a:pt x="6" y="38"/>
                  </a:moveTo>
                  <a:lnTo>
                    <a:pt x="16" y="28"/>
                  </a:lnTo>
                  <a:lnTo>
                    <a:pt x="12" y="16"/>
                  </a:lnTo>
                  <a:lnTo>
                    <a:pt x="10" y="10"/>
                  </a:lnTo>
                  <a:lnTo>
                    <a:pt x="6" y="0"/>
                  </a:lnTo>
                  <a:lnTo>
                    <a:pt x="0" y="4"/>
                  </a:lnTo>
                  <a:lnTo>
                    <a:pt x="4" y="18"/>
                  </a:lnTo>
                  <a:lnTo>
                    <a:pt x="6" y="3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18" name="Freeform 112"/>
            <p:cNvSpPr>
              <a:spLocks/>
            </p:cNvSpPr>
            <p:nvPr/>
          </p:nvSpPr>
          <p:spPr bwMode="auto">
            <a:xfrm>
              <a:off x="1433892" y="2071086"/>
              <a:ext cx="48173" cy="52316"/>
            </a:xfrm>
            <a:custGeom>
              <a:avLst/>
              <a:gdLst>
                <a:gd name="T0" fmla="*/ 24 w 70"/>
                <a:gd name="T1" fmla="*/ 0 h 72"/>
                <a:gd name="T2" fmla="*/ 40 w 70"/>
                <a:gd name="T3" fmla="*/ 0 h 72"/>
                <a:gd name="T4" fmla="*/ 52 w 70"/>
                <a:gd name="T5" fmla="*/ 4 h 72"/>
                <a:gd name="T6" fmla="*/ 60 w 70"/>
                <a:gd name="T7" fmla="*/ 14 h 72"/>
                <a:gd name="T8" fmla="*/ 68 w 70"/>
                <a:gd name="T9" fmla="*/ 34 h 72"/>
                <a:gd name="T10" fmla="*/ 70 w 70"/>
                <a:gd name="T11" fmla="*/ 50 h 72"/>
                <a:gd name="T12" fmla="*/ 62 w 70"/>
                <a:gd name="T13" fmla="*/ 56 h 72"/>
                <a:gd name="T14" fmla="*/ 60 w 70"/>
                <a:gd name="T15" fmla="*/ 68 h 72"/>
                <a:gd name="T16" fmla="*/ 50 w 70"/>
                <a:gd name="T17" fmla="*/ 72 h 72"/>
                <a:gd name="T18" fmla="*/ 42 w 70"/>
                <a:gd name="T19" fmla="*/ 62 h 72"/>
                <a:gd name="T20" fmla="*/ 36 w 70"/>
                <a:gd name="T21" fmla="*/ 44 h 72"/>
                <a:gd name="T22" fmla="*/ 30 w 70"/>
                <a:gd name="T23" fmla="*/ 38 h 72"/>
                <a:gd name="T24" fmla="*/ 16 w 70"/>
                <a:gd name="T25" fmla="*/ 36 h 72"/>
                <a:gd name="T26" fmla="*/ 0 w 70"/>
                <a:gd name="T27" fmla="*/ 18 h 72"/>
                <a:gd name="T28" fmla="*/ 24 w 70"/>
                <a:gd name="T2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72">
                  <a:moveTo>
                    <a:pt x="24" y="0"/>
                  </a:moveTo>
                  <a:lnTo>
                    <a:pt x="40" y="0"/>
                  </a:lnTo>
                  <a:lnTo>
                    <a:pt x="52" y="4"/>
                  </a:lnTo>
                  <a:lnTo>
                    <a:pt x="60" y="14"/>
                  </a:lnTo>
                  <a:lnTo>
                    <a:pt x="68" y="34"/>
                  </a:lnTo>
                  <a:lnTo>
                    <a:pt x="70" y="50"/>
                  </a:lnTo>
                  <a:lnTo>
                    <a:pt x="62" y="56"/>
                  </a:lnTo>
                  <a:lnTo>
                    <a:pt x="60" y="68"/>
                  </a:lnTo>
                  <a:lnTo>
                    <a:pt x="50" y="72"/>
                  </a:lnTo>
                  <a:lnTo>
                    <a:pt x="42" y="62"/>
                  </a:lnTo>
                  <a:lnTo>
                    <a:pt x="36" y="44"/>
                  </a:lnTo>
                  <a:lnTo>
                    <a:pt x="30" y="38"/>
                  </a:lnTo>
                  <a:lnTo>
                    <a:pt x="16" y="36"/>
                  </a:lnTo>
                  <a:lnTo>
                    <a:pt x="0" y="18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19" name="Freeform 113"/>
            <p:cNvSpPr>
              <a:spLocks/>
            </p:cNvSpPr>
            <p:nvPr/>
          </p:nvSpPr>
          <p:spPr bwMode="auto">
            <a:xfrm>
              <a:off x="1433892" y="2071086"/>
              <a:ext cx="48173" cy="52316"/>
            </a:xfrm>
            <a:custGeom>
              <a:avLst/>
              <a:gdLst>
                <a:gd name="T0" fmla="*/ 24 w 70"/>
                <a:gd name="T1" fmla="*/ 0 h 72"/>
                <a:gd name="T2" fmla="*/ 40 w 70"/>
                <a:gd name="T3" fmla="*/ 0 h 72"/>
                <a:gd name="T4" fmla="*/ 52 w 70"/>
                <a:gd name="T5" fmla="*/ 4 h 72"/>
                <a:gd name="T6" fmla="*/ 60 w 70"/>
                <a:gd name="T7" fmla="*/ 14 h 72"/>
                <a:gd name="T8" fmla="*/ 68 w 70"/>
                <a:gd name="T9" fmla="*/ 34 h 72"/>
                <a:gd name="T10" fmla="*/ 70 w 70"/>
                <a:gd name="T11" fmla="*/ 50 h 72"/>
                <a:gd name="T12" fmla="*/ 62 w 70"/>
                <a:gd name="T13" fmla="*/ 56 h 72"/>
                <a:gd name="T14" fmla="*/ 60 w 70"/>
                <a:gd name="T15" fmla="*/ 68 h 72"/>
                <a:gd name="T16" fmla="*/ 50 w 70"/>
                <a:gd name="T17" fmla="*/ 72 h 72"/>
                <a:gd name="T18" fmla="*/ 42 w 70"/>
                <a:gd name="T19" fmla="*/ 62 h 72"/>
                <a:gd name="T20" fmla="*/ 36 w 70"/>
                <a:gd name="T21" fmla="*/ 44 h 72"/>
                <a:gd name="T22" fmla="*/ 30 w 70"/>
                <a:gd name="T23" fmla="*/ 38 h 72"/>
                <a:gd name="T24" fmla="*/ 16 w 70"/>
                <a:gd name="T25" fmla="*/ 36 h 72"/>
                <a:gd name="T26" fmla="*/ 0 w 70"/>
                <a:gd name="T27" fmla="*/ 18 h 72"/>
                <a:gd name="T28" fmla="*/ 24 w 70"/>
                <a:gd name="T2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" h="72">
                  <a:moveTo>
                    <a:pt x="24" y="0"/>
                  </a:moveTo>
                  <a:lnTo>
                    <a:pt x="40" y="0"/>
                  </a:lnTo>
                  <a:lnTo>
                    <a:pt x="52" y="4"/>
                  </a:lnTo>
                  <a:lnTo>
                    <a:pt x="60" y="14"/>
                  </a:lnTo>
                  <a:lnTo>
                    <a:pt x="68" y="34"/>
                  </a:lnTo>
                  <a:lnTo>
                    <a:pt x="70" y="50"/>
                  </a:lnTo>
                  <a:lnTo>
                    <a:pt x="62" y="56"/>
                  </a:lnTo>
                  <a:lnTo>
                    <a:pt x="60" y="68"/>
                  </a:lnTo>
                  <a:lnTo>
                    <a:pt x="50" y="72"/>
                  </a:lnTo>
                  <a:lnTo>
                    <a:pt x="42" y="62"/>
                  </a:lnTo>
                  <a:lnTo>
                    <a:pt x="36" y="44"/>
                  </a:lnTo>
                  <a:lnTo>
                    <a:pt x="30" y="38"/>
                  </a:lnTo>
                  <a:lnTo>
                    <a:pt x="16" y="36"/>
                  </a:lnTo>
                  <a:lnTo>
                    <a:pt x="0" y="18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20" name="Freeform 114"/>
            <p:cNvSpPr>
              <a:spLocks/>
            </p:cNvSpPr>
            <p:nvPr/>
          </p:nvSpPr>
          <p:spPr bwMode="auto">
            <a:xfrm>
              <a:off x="1506840" y="1934483"/>
              <a:ext cx="24775" cy="18892"/>
            </a:xfrm>
            <a:custGeom>
              <a:avLst/>
              <a:gdLst>
                <a:gd name="T0" fmla="*/ 32 w 36"/>
                <a:gd name="T1" fmla="*/ 0 h 26"/>
                <a:gd name="T2" fmla="*/ 36 w 36"/>
                <a:gd name="T3" fmla="*/ 6 h 26"/>
                <a:gd name="T4" fmla="*/ 22 w 36"/>
                <a:gd name="T5" fmla="*/ 14 h 26"/>
                <a:gd name="T6" fmla="*/ 8 w 36"/>
                <a:gd name="T7" fmla="*/ 26 h 26"/>
                <a:gd name="T8" fmla="*/ 0 w 36"/>
                <a:gd name="T9" fmla="*/ 24 h 26"/>
                <a:gd name="T10" fmla="*/ 0 w 36"/>
                <a:gd name="T11" fmla="*/ 8 h 26"/>
                <a:gd name="T12" fmla="*/ 0 w 36"/>
                <a:gd name="T13" fmla="*/ 4 h 26"/>
                <a:gd name="T14" fmla="*/ 22 w 36"/>
                <a:gd name="T15" fmla="*/ 0 h 26"/>
                <a:gd name="T16" fmla="*/ 32 w 36"/>
                <a:gd name="T1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6">
                  <a:moveTo>
                    <a:pt x="32" y="0"/>
                  </a:moveTo>
                  <a:lnTo>
                    <a:pt x="36" y="6"/>
                  </a:lnTo>
                  <a:lnTo>
                    <a:pt x="22" y="14"/>
                  </a:lnTo>
                  <a:lnTo>
                    <a:pt x="8" y="26"/>
                  </a:lnTo>
                  <a:lnTo>
                    <a:pt x="0" y="24"/>
                  </a:lnTo>
                  <a:lnTo>
                    <a:pt x="0" y="8"/>
                  </a:lnTo>
                  <a:lnTo>
                    <a:pt x="0" y="4"/>
                  </a:lnTo>
                  <a:lnTo>
                    <a:pt x="2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21" name="Freeform 115"/>
            <p:cNvSpPr>
              <a:spLocks/>
            </p:cNvSpPr>
            <p:nvPr/>
          </p:nvSpPr>
          <p:spPr bwMode="auto">
            <a:xfrm>
              <a:off x="1506840" y="1934483"/>
              <a:ext cx="24775" cy="18892"/>
            </a:xfrm>
            <a:custGeom>
              <a:avLst/>
              <a:gdLst>
                <a:gd name="T0" fmla="*/ 32 w 36"/>
                <a:gd name="T1" fmla="*/ 0 h 26"/>
                <a:gd name="T2" fmla="*/ 36 w 36"/>
                <a:gd name="T3" fmla="*/ 6 h 26"/>
                <a:gd name="T4" fmla="*/ 22 w 36"/>
                <a:gd name="T5" fmla="*/ 14 h 26"/>
                <a:gd name="T6" fmla="*/ 8 w 36"/>
                <a:gd name="T7" fmla="*/ 26 h 26"/>
                <a:gd name="T8" fmla="*/ 0 w 36"/>
                <a:gd name="T9" fmla="*/ 24 h 26"/>
                <a:gd name="T10" fmla="*/ 0 w 36"/>
                <a:gd name="T11" fmla="*/ 8 h 26"/>
                <a:gd name="T12" fmla="*/ 0 w 36"/>
                <a:gd name="T13" fmla="*/ 4 h 26"/>
                <a:gd name="T14" fmla="*/ 22 w 36"/>
                <a:gd name="T15" fmla="*/ 0 h 26"/>
                <a:gd name="T16" fmla="*/ 32 w 36"/>
                <a:gd name="T1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6">
                  <a:moveTo>
                    <a:pt x="32" y="0"/>
                  </a:moveTo>
                  <a:lnTo>
                    <a:pt x="36" y="6"/>
                  </a:lnTo>
                  <a:lnTo>
                    <a:pt x="22" y="14"/>
                  </a:lnTo>
                  <a:lnTo>
                    <a:pt x="8" y="26"/>
                  </a:lnTo>
                  <a:lnTo>
                    <a:pt x="0" y="24"/>
                  </a:lnTo>
                  <a:lnTo>
                    <a:pt x="0" y="8"/>
                  </a:lnTo>
                  <a:lnTo>
                    <a:pt x="0" y="4"/>
                  </a:lnTo>
                  <a:lnTo>
                    <a:pt x="2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22" name="Freeform 116"/>
            <p:cNvSpPr>
              <a:spLocks/>
            </p:cNvSpPr>
            <p:nvPr/>
          </p:nvSpPr>
          <p:spPr bwMode="auto">
            <a:xfrm>
              <a:off x="1348557" y="1434574"/>
              <a:ext cx="188563" cy="168574"/>
            </a:xfrm>
            <a:custGeom>
              <a:avLst/>
              <a:gdLst>
                <a:gd name="T0" fmla="*/ 12 w 274"/>
                <a:gd name="T1" fmla="*/ 64 h 232"/>
                <a:gd name="T2" fmla="*/ 34 w 274"/>
                <a:gd name="T3" fmla="*/ 82 h 232"/>
                <a:gd name="T4" fmla="*/ 44 w 274"/>
                <a:gd name="T5" fmla="*/ 114 h 232"/>
                <a:gd name="T6" fmla="*/ 26 w 274"/>
                <a:gd name="T7" fmla="*/ 136 h 232"/>
                <a:gd name="T8" fmla="*/ 0 w 274"/>
                <a:gd name="T9" fmla="*/ 134 h 232"/>
                <a:gd name="T10" fmla="*/ 36 w 274"/>
                <a:gd name="T11" fmla="*/ 166 h 232"/>
                <a:gd name="T12" fmla="*/ 50 w 274"/>
                <a:gd name="T13" fmla="*/ 202 h 232"/>
                <a:gd name="T14" fmla="*/ 84 w 274"/>
                <a:gd name="T15" fmla="*/ 218 h 232"/>
                <a:gd name="T16" fmla="*/ 104 w 274"/>
                <a:gd name="T17" fmla="*/ 228 h 232"/>
                <a:gd name="T18" fmla="*/ 140 w 274"/>
                <a:gd name="T19" fmla="*/ 228 h 232"/>
                <a:gd name="T20" fmla="*/ 170 w 274"/>
                <a:gd name="T21" fmla="*/ 230 h 232"/>
                <a:gd name="T22" fmla="*/ 190 w 274"/>
                <a:gd name="T23" fmla="*/ 218 h 232"/>
                <a:gd name="T24" fmla="*/ 206 w 274"/>
                <a:gd name="T25" fmla="*/ 230 h 232"/>
                <a:gd name="T26" fmla="*/ 224 w 274"/>
                <a:gd name="T27" fmla="*/ 218 h 232"/>
                <a:gd name="T28" fmla="*/ 252 w 274"/>
                <a:gd name="T29" fmla="*/ 208 h 232"/>
                <a:gd name="T30" fmla="*/ 260 w 274"/>
                <a:gd name="T31" fmla="*/ 192 h 232"/>
                <a:gd name="T32" fmla="*/ 274 w 274"/>
                <a:gd name="T33" fmla="*/ 172 h 232"/>
                <a:gd name="T34" fmla="*/ 262 w 274"/>
                <a:gd name="T35" fmla="*/ 158 h 232"/>
                <a:gd name="T36" fmla="*/ 272 w 274"/>
                <a:gd name="T37" fmla="*/ 120 h 232"/>
                <a:gd name="T38" fmla="*/ 256 w 274"/>
                <a:gd name="T39" fmla="*/ 110 h 232"/>
                <a:gd name="T40" fmla="*/ 254 w 274"/>
                <a:gd name="T41" fmla="*/ 104 h 232"/>
                <a:gd name="T42" fmla="*/ 244 w 274"/>
                <a:gd name="T43" fmla="*/ 90 h 232"/>
                <a:gd name="T44" fmla="*/ 224 w 274"/>
                <a:gd name="T45" fmla="*/ 104 h 232"/>
                <a:gd name="T46" fmla="*/ 210 w 274"/>
                <a:gd name="T47" fmla="*/ 100 h 232"/>
                <a:gd name="T48" fmla="*/ 188 w 274"/>
                <a:gd name="T49" fmla="*/ 90 h 232"/>
                <a:gd name="T50" fmla="*/ 174 w 274"/>
                <a:gd name="T51" fmla="*/ 88 h 232"/>
                <a:gd name="T52" fmla="*/ 168 w 274"/>
                <a:gd name="T53" fmla="*/ 80 h 232"/>
                <a:gd name="T54" fmla="*/ 146 w 274"/>
                <a:gd name="T55" fmla="*/ 80 h 232"/>
                <a:gd name="T56" fmla="*/ 140 w 274"/>
                <a:gd name="T57" fmla="*/ 68 h 232"/>
                <a:gd name="T58" fmla="*/ 128 w 274"/>
                <a:gd name="T59" fmla="*/ 74 h 232"/>
                <a:gd name="T60" fmla="*/ 120 w 274"/>
                <a:gd name="T61" fmla="*/ 74 h 232"/>
                <a:gd name="T62" fmla="*/ 104 w 274"/>
                <a:gd name="T63" fmla="*/ 84 h 232"/>
                <a:gd name="T64" fmla="*/ 100 w 274"/>
                <a:gd name="T65" fmla="*/ 58 h 232"/>
                <a:gd name="T66" fmla="*/ 112 w 274"/>
                <a:gd name="T67" fmla="*/ 42 h 232"/>
                <a:gd name="T68" fmla="*/ 112 w 274"/>
                <a:gd name="T69" fmla="*/ 16 h 232"/>
                <a:gd name="T70" fmla="*/ 104 w 274"/>
                <a:gd name="T71" fmla="*/ 0 h 232"/>
                <a:gd name="T72" fmla="*/ 96 w 274"/>
                <a:gd name="T73" fmla="*/ 20 h 232"/>
                <a:gd name="T74" fmla="*/ 84 w 274"/>
                <a:gd name="T75" fmla="*/ 20 h 232"/>
                <a:gd name="T76" fmla="*/ 82 w 274"/>
                <a:gd name="T77" fmla="*/ 4 h 232"/>
                <a:gd name="T78" fmla="*/ 66 w 274"/>
                <a:gd name="T79" fmla="*/ 14 h 232"/>
                <a:gd name="T80" fmla="*/ 64 w 274"/>
                <a:gd name="T81" fmla="*/ 26 h 232"/>
                <a:gd name="T82" fmla="*/ 52 w 274"/>
                <a:gd name="T83" fmla="*/ 18 h 232"/>
                <a:gd name="T84" fmla="*/ 42 w 274"/>
                <a:gd name="T85" fmla="*/ 26 h 232"/>
                <a:gd name="T86" fmla="*/ 58 w 274"/>
                <a:gd name="T87" fmla="*/ 38 h 232"/>
                <a:gd name="T88" fmla="*/ 76 w 274"/>
                <a:gd name="T89" fmla="*/ 52 h 232"/>
                <a:gd name="T90" fmla="*/ 64 w 274"/>
                <a:gd name="T91" fmla="*/ 62 h 232"/>
                <a:gd name="T92" fmla="*/ 70 w 274"/>
                <a:gd name="T93" fmla="*/ 78 h 232"/>
                <a:gd name="T94" fmla="*/ 56 w 274"/>
                <a:gd name="T95" fmla="*/ 82 h 232"/>
                <a:gd name="T96" fmla="*/ 34 w 274"/>
                <a:gd name="T97" fmla="*/ 6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" h="232">
                  <a:moveTo>
                    <a:pt x="20" y="54"/>
                  </a:moveTo>
                  <a:lnTo>
                    <a:pt x="12" y="64"/>
                  </a:lnTo>
                  <a:lnTo>
                    <a:pt x="22" y="80"/>
                  </a:lnTo>
                  <a:lnTo>
                    <a:pt x="34" y="82"/>
                  </a:lnTo>
                  <a:lnTo>
                    <a:pt x="42" y="88"/>
                  </a:lnTo>
                  <a:lnTo>
                    <a:pt x="44" y="114"/>
                  </a:lnTo>
                  <a:lnTo>
                    <a:pt x="34" y="132"/>
                  </a:lnTo>
                  <a:lnTo>
                    <a:pt x="26" y="136"/>
                  </a:lnTo>
                  <a:lnTo>
                    <a:pt x="2" y="132"/>
                  </a:lnTo>
                  <a:lnTo>
                    <a:pt x="0" y="134"/>
                  </a:lnTo>
                  <a:lnTo>
                    <a:pt x="28" y="160"/>
                  </a:lnTo>
                  <a:lnTo>
                    <a:pt x="36" y="166"/>
                  </a:lnTo>
                  <a:lnTo>
                    <a:pt x="40" y="184"/>
                  </a:lnTo>
                  <a:lnTo>
                    <a:pt x="50" y="202"/>
                  </a:lnTo>
                  <a:lnTo>
                    <a:pt x="66" y="216"/>
                  </a:lnTo>
                  <a:lnTo>
                    <a:pt x="84" y="218"/>
                  </a:lnTo>
                  <a:lnTo>
                    <a:pt x="94" y="228"/>
                  </a:lnTo>
                  <a:lnTo>
                    <a:pt x="104" y="228"/>
                  </a:lnTo>
                  <a:lnTo>
                    <a:pt x="116" y="222"/>
                  </a:lnTo>
                  <a:lnTo>
                    <a:pt x="140" y="228"/>
                  </a:lnTo>
                  <a:lnTo>
                    <a:pt x="154" y="232"/>
                  </a:lnTo>
                  <a:lnTo>
                    <a:pt x="170" y="230"/>
                  </a:lnTo>
                  <a:lnTo>
                    <a:pt x="180" y="228"/>
                  </a:lnTo>
                  <a:lnTo>
                    <a:pt x="190" y="218"/>
                  </a:lnTo>
                  <a:lnTo>
                    <a:pt x="196" y="222"/>
                  </a:lnTo>
                  <a:lnTo>
                    <a:pt x="206" y="230"/>
                  </a:lnTo>
                  <a:lnTo>
                    <a:pt x="216" y="224"/>
                  </a:lnTo>
                  <a:lnTo>
                    <a:pt x="224" y="218"/>
                  </a:lnTo>
                  <a:lnTo>
                    <a:pt x="230" y="212"/>
                  </a:lnTo>
                  <a:lnTo>
                    <a:pt x="252" y="208"/>
                  </a:lnTo>
                  <a:lnTo>
                    <a:pt x="256" y="200"/>
                  </a:lnTo>
                  <a:lnTo>
                    <a:pt x="260" y="192"/>
                  </a:lnTo>
                  <a:lnTo>
                    <a:pt x="272" y="180"/>
                  </a:lnTo>
                  <a:lnTo>
                    <a:pt x="274" y="172"/>
                  </a:lnTo>
                  <a:lnTo>
                    <a:pt x="268" y="168"/>
                  </a:lnTo>
                  <a:lnTo>
                    <a:pt x="262" y="158"/>
                  </a:lnTo>
                  <a:lnTo>
                    <a:pt x="260" y="124"/>
                  </a:lnTo>
                  <a:lnTo>
                    <a:pt x="272" y="120"/>
                  </a:lnTo>
                  <a:lnTo>
                    <a:pt x="264" y="108"/>
                  </a:lnTo>
                  <a:lnTo>
                    <a:pt x="256" y="110"/>
                  </a:lnTo>
                  <a:lnTo>
                    <a:pt x="250" y="108"/>
                  </a:lnTo>
                  <a:lnTo>
                    <a:pt x="254" y="104"/>
                  </a:lnTo>
                  <a:lnTo>
                    <a:pt x="250" y="94"/>
                  </a:lnTo>
                  <a:lnTo>
                    <a:pt x="244" y="90"/>
                  </a:lnTo>
                  <a:lnTo>
                    <a:pt x="232" y="96"/>
                  </a:lnTo>
                  <a:lnTo>
                    <a:pt x="224" y="104"/>
                  </a:lnTo>
                  <a:lnTo>
                    <a:pt x="216" y="104"/>
                  </a:lnTo>
                  <a:lnTo>
                    <a:pt x="210" y="100"/>
                  </a:lnTo>
                  <a:lnTo>
                    <a:pt x="198" y="94"/>
                  </a:lnTo>
                  <a:lnTo>
                    <a:pt x="188" y="90"/>
                  </a:lnTo>
                  <a:lnTo>
                    <a:pt x="180" y="94"/>
                  </a:lnTo>
                  <a:lnTo>
                    <a:pt x="174" y="88"/>
                  </a:lnTo>
                  <a:lnTo>
                    <a:pt x="174" y="80"/>
                  </a:lnTo>
                  <a:lnTo>
                    <a:pt x="168" y="80"/>
                  </a:lnTo>
                  <a:lnTo>
                    <a:pt x="156" y="82"/>
                  </a:lnTo>
                  <a:lnTo>
                    <a:pt x="146" y="80"/>
                  </a:lnTo>
                  <a:lnTo>
                    <a:pt x="146" y="74"/>
                  </a:lnTo>
                  <a:lnTo>
                    <a:pt x="140" y="68"/>
                  </a:lnTo>
                  <a:lnTo>
                    <a:pt x="132" y="68"/>
                  </a:lnTo>
                  <a:lnTo>
                    <a:pt x="128" y="74"/>
                  </a:lnTo>
                  <a:lnTo>
                    <a:pt x="126" y="78"/>
                  </a:lnTo>
                  <a:lnTo>
                    <a:pt x="120" y="74"/>
                  </a:lnTo>
                  <a:lnTo>
                    <a:pt x="112" y="76"/>
                  </a:lnTo>
                  <a:lnTo>
                    <a:pt x="104" y="84"/>
                  </a:lnTo>
                  <a:lnTo>
                    <a:pt x="98" y="78"/>
                  </a:lnTo>
                  <a:lnTo>
                    <a:pt x="100" y="58"/>
                  </a:lnTo>
                  <a:lnTo>
                    <a:pt x="106" y="48"/>
                  </a:lnTo>
                  <a:lnTo>
                    <a:pt x="112" y="42"/>
                  </a:lnTo>
                  <a:lnTo>
                    <a:pt x="110" y="28"/>
                  </a:lnTo>
                  <a:lnTo>
                    <a:pt x="112" y="16"/>
                  </a:lnTo>
                  <a:lnTo>
                    <a:pt x="110" y="0"/>
                  </a:lnTo>
                  <a:lnTo>
                    <a:pt x="104" y="0"/>
                  </a:lnTo>
                  <a:lnTo>
                    <a:pt x="98" y="6"/>
                  </a:lnTo>
                  <a:lnTo>
                    <a:pt x="96" y="20"/>
                  </a:lnTo>
                  <a:lnTo>
                    <a:pt x="92" y="28"/>
                  </a:lnTo>
                  <a:lnTo>
                    <a:pt x="84" y="20"/>
                  </a:lnTo>
                  <a:lnTo>
                    <a:pt x="90" y="10"/>
                  </a:lnTo>
                  <a:lnTo>
                    <a:pt x="82" y="4"/>
                  </a:lnTo>
                  <a:lnTo>
                    <a:pt x="70" y="6"/>
                  </a:lnTo>
                  <a:lnTo>
                    <a:pt x="66" y="14"/>
                  </a:lnTo>
                  <a:lnTo>
                    <a:pt x="68" y="20"/>
                  </a:lnTo>
                  <a:lnTo>
                    <a:pt x="64" y="26"/>
                  </a:lnTo>
                  <a:lnTo>
                    <a:pt x="58" y="24"/>
                  </a:lnTo>
                  <a:lnTo>
                    <a:pt x="52" y="18"/>
                  </a:lnTo>
                  <a:lnTo>
                    <a:pt x="46" y="20"/>
                  </a:lnTo>
                  <a:lnTo>
                    <a:pt x="42" y="26"/>
                  </a:lnTo>
                  <a:lnTo>
                    <a:pt x="48" y="36"/>
                  </a:lnTo>
                  <a:lnTo>
                    <a:pt x="58" y="38"/>
                  </a:lnTo>
                  <a:lnTo>
                    <a:pt x="70" y="50"/>
                  </a:lnTo>
                  <a:lnTo>
                    <a:pt x="76" y="52"/>
                  </a:lnTo>
                  <a:lnTo>
                    <a:pt x="76" y="60"/>
                  </a:lnTo>
                  <a:lnTo>
                    <a:pt x="64" y="62"/>
                  </a:lnTo>
                  <a:lnTo>
                    <a:pt x="66" y="72"/>
                  </a:lnTo>
                  <a:lnTo>
                    <a:pt x="70" y="78"/>
                  </a:lnTo>
                  <a:lnTo>
                    <a:pt x="66" y="84"/>
                  </a:lnTo>
                  <a:lnTo>
                    <a:pt x="56" y="82"/>
                  </a:lnTo>
                  <a:lnTo>
                    <a:pt x="42" y="68"/>
                  </a:lnTo>
                  <a:lnTo>
                    <a:pt x="34" y="60"/>
                  </a:lnTo>
                  <a:lnTo>
                    <a:pt x="20" y="5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23" name="Freeform 117"/>
            <p:cNvSpPr>
              <a:spLocks/>
            </p:cNvSpPr>
            <p:nvPr/>
          </p:nvSpPr>
          <p:spPr bwMode="auto">
            <a:xfrm>
              <a:off x="1348557" y="1434574"/>
              <a:ext cx="188563" cy="168574"/>
            </a:xfrm>
            <a:custGeom>
              <a:avLst/>
              <a:gdLst>
                <a:gd name="T0" fmla="*/ 12 w 274"/>
                <a:gd name="T1" fmla="*/ 64 h 232"/>
                <a:gd name="T2" fmla="*/ 34 w 274"/>
                <a:gd name="T3" fmla="*/ 82 h 232"/>
                <a:gd name="T4" fmla="*/ 44 w 274"/>
                <a:gd name="T5" fmla="*/ 114 h 232"/>
                <a:gd name="T6" fmla="*/ 26 w 274"/>
                <a:gd name="T7" fmla="*/ 136 h 232"/>
                <a:gd name="T8" fmla="*/ 0 w 274"/>
                <a:gd name="T9" fmla="*/ 134 h 232"/>
                <a:gd name="T10" fmla="*/ 36 w 274"/>
                <a:gd name="T11" fmla="*/ 166 h 232"/>
                <a:gd name="T12" fmla="*/ 50 w 274"/>
                <a:gd name="T13" fmla="*/ 202 h 232"/>
                <a:gd name="T14" fmla="*/ 84 w 274"/>
                <a:gd name="T15" fmla="*/ 218 h 232"/>
                <a:gd name="T16" fmla="*/ 104 w 274"/>
                <a:gd name="T17" fmla="*/ 228 h 232"/>
                <a:gd name="T18" fmla="*/ 140 w 274"/>
                <a:gd name="T19" fmla="*/ 228 h 232"/>
                <a:gd name="T20" fmla="*/ 170 w 274"/>
                <a:gd name="T21" fmla="*/ 230 h 232"/>
                <a:gd name="T22" fmla="*/ 190 w 274"/>
                <a:gd name="T23" fmla="*/ 218 h 232"/>
                <a:gd name="T24" fmla="*/ 206 w 274"/>
                <a:gd name="T25" fmla="*/ 230 h 232"/>
                <a:gd name="T26" fmla="*/ 224 w 274"/>
                <a:gd name="T27" fmla="*/ 218 h 232"/>
                <a:gd name="T28" fmla="*/ 252 w 274"/>
                <a:gd name="T29" fmla="*/ 208 h 232"/>
                <a:gd name="T30" fmla="*/ 260 w 274"/>
                <a:gd name="T31" fmla="*/ 192 h 232"/>
                <a:gd name="T32" fmla="*/ 274 w 274"/>
                <a:gd name="T33" fmla="*/ 172 h 232"/>
                <a:gd name="T34" fmla="*/ 262 w 274"/>
                <a:gd name="T35" fmla="*/ 158 h 232"/>
                <a:gd name="T36" fmla="*/ 272 w 274"/>
                <a:gd name="T37" fmla="*/ 120 h 232"/>
                <a:gd name="T38" fmla="*/ 256 w 274"/>
                <a:gd name="T39" fmla="*/ 110 h 232"/>
                <a:gd name="T40" fmla="*/ 254 w 274"/>
                <a:gd name="T41" fmla="*/ 104 h 232"/>
                <a:gd name="T42" fmla="*/ 244 w 274"/>
                <a:gd name="T43" fmla="*/ 90 h 232"/>
                <a:gd name="T44" fmla="*/ 224 w 274"/>
                <a:gd name="T45" fmla="*/ 104 h 232"/>
                <a:gd name="T46" fmla="*/ 210 w 274"/>
                <a:gd name="T47" fmla="*/ 100 h 232"/>
                <a:gd name="T48" fmla="*/ 188 w 274"/>
                <a:gd name="T49" fmla="*/ 90 h 232"/>
                <a:gd name="T50" fmla="*/ 174 w 274"/>
                <a:gd name="T51" fmla="*/ 88 h 232"/>
                <a:gd name="T52" fmla="*/ 168 w 274"/>
                <a:gd name="T53" fmla="*/ 80 h 232"/>
                <a:gd name="T54" fmla="*/ 146 w 274"/>
                <a:gd name="T55" fmla="*/ 80 h 232"/>
                <a:gd name="T56" fmla="*/ 140 w 274"/>
                <a:gd name="T57" fmla="*/ 68 h 232"/>
                <a:gd name="T58" fmla="*/ 128 w 274"/>
                <a:gd name="T59" fmla="*/ 74 h 232"/>
                <a:gd name="T60" fmla="*/ 120 w 274"/>
                <a:gd name="T61" fmla="*/ 74 h 232"/>
                <a:gd name="T62" fmla="*/ 104 w 274"/>
                <a:gd name="T63" fmla="*/ 84 h 232"/>
                <a:gd name="T64" fmla="*/ 100 w 274"/>
                <a:gd name="T65" fmla="*/ 58 h 232"/>
                <a:gd name="T66" fmla="*/ 112 w 274"/>
                <a:gd name="T67" fmla="*/ 42 h 232"/>
                <a:gd name="T68" fmla="*/ 112 w 274"/>
                <a:gd name="T69" fmla="*/ 16 h 232"/>
                <a:gd name="T70" fmla="*/ 104 w 274"/>
                <a:gd name="T71" fmla="*/ 0 h 232"/>
                <a:gd name="T72" fmla="*/ 96 w 274"/>
                <a:gd name="T73" fmla="*/ 20 h 232"/>
                <a:gd name="T74" fmla="*/ 84 w 274"/>
                <a:gd name="T75" fmla="*/ 20 h 232"/>
                <a:gd name="T76" fmla="*/ 82 w 274"/>
                <a:gd name="T77" fmla="*/ 4 h 232"/>
                <a:gd name="T78" fmla="*/ 66 w 274"/>
                <a:gd name="T79" fmla="*/ 14 h 232"/>
                <a:gd name="T80" fmla="*/ 64 w 274"/>
                <a:gd name="T81" fmla="*/ 26 h 232"/>
                <a:gd name="T82" fmla="*/ 52 w 274"/>
                <a:gd name="T83" fmla="*/ 18 h 232"/>
                <a:gd name="T84" fmla="*/ 42 w 274"/>
                <a:gd name="T85" fmla="*/ 26 h 232"/>
                <a:gd name="T86" fmla="*/ 58 w 274"/>
                <a:gd name="T87" fmla="*/ 38 h 232"/>
                <a:gd name="T88" fmla="*/ 76 w 274"/>
                <a:gd name="T89" fmla="*/ 52 h 232"/>
                <a:gd name="T90" fmla="*/ 64 w 274"/>
                <a:gd name="T91" fmla="*/ 62 h 232"/>
                <a:gd name="T92" fmla="*/ 70 w 274"/>
                <a:gd name="T93" fmla="*/ 78 h 232"/>
                <a:gd name="T94" fmla="*/ 56 w 274"/>
                <a:gd name="T95" fmla="*/ 82 h 232"/>
                <a:gd name="T96" fmla="*/ 34 w 274"/>
                <a:gd name="T97" fmla="*/ 6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" h="232">
                  <a:moveTo>
                    <a:pt x="20" y="54"/>
                  </a:moveTo>
                  <a:lnTo>
                    <a:pt x="12" y="64"/>
                  </a:lnTo>
                  <a:lnTo>
                    <a:pt x="22" y="80"/>
                  </a:lnTo>
                  <a:lnTo>
                    <a:pt x="34" y="82"/>
                  </a:lnTo>
                  <a:lnTo>
                    <a:pt x="42" y="88"/>
                  </a:lnTo>
                  <a:lnTo>
                    <a:pt x="44" y="114"/>
                  </a:lnTo>
                  <a:lnTo>
                    <a:pt x="34" y="132"/>
                  </a:lnTo>
                  <a:lnTo>
                    <a:pt x="26" y="136"/>
                  </a:lnTo>
                  <a:lnTo>
                    <a:pt x="2" y="132"/>
                  </a:lnTo>
                  <a:lnTo>
                    <a:pt x="0" y="134"/>
                  </a:lnTo>
                  <a:lnTo>
                    <a:pt x="28" y="160"/>
                  </a:lnTo>
                  <a:lnTo>
                    <a:pt x="36" y="166"/>
                  </a:lnTo>
                  <a:lnTo>
                    <a:pt x="40" y="184"/>
                  </a:lnTo>
                  <a:lnTo>
                    <a:pt x="50" y="202"/>
                  </a:lnTo>
                  <a:lnTo>
                    <a:pt x="66" y="216"/>
                  </a:lnTo>
                  <a:lnTo>
                    <a:pt x="84" y="218"/>
                  </a:lnTo>
                  <a:lnTo>
                    <a:pt x="94" y="228"/>
                  </a:lnTo>
                  <a:lnTo>
                    <a:pt x="104" y="228"/>
                  </a:lnTo>
                  <a:lnTo>
                    <a:pt x="116" y="222"/>
                  </a:lnTo>
                  <a:lnTo>
                    <a:pt x="140" y="228"/>
                  </a:lnTo>
                  <a:lnTo>
                    <a:pt x="154" y="232"/>
                  </a:lnTo>
                  <a:lnTo>
                    <a:pt x="170" y="230"/>
                  </a:lnTo>
                  <a:lnTo>
                    <a:pt x="180" y="228"/>
                  </a:lnTo>
                  <a:lnTo>
                    <a:pt x="190" y="218"/>
                  </a:lnTo>
                  <a:lnTo>
                    <a:pt x="196" y="222"/>
                  </a:lnTo>
                  <a:lnTo>
                    <a:pt x="206" y="230"/>
                  </a:lnTo>
                  <a:lnTo>
                    <a:pt x="216" y="224"/>
                  </a:lnTo>
                  <a:lnTo>
                    <a:pt x="224" y="218"/>
                  </a:lnTo>
                  <a:lnTo>
                    <a:pt x="230" y="212"/>
                  </a:lnTo>
                  <a:lnTo>
                    <a:pt x="252" y="208"/>
                  </a:lnTo>
                  <a:lnTo>
                    <a:pt x="256" y="200"/>
                  </a:lnTo>
                  <a:lnTo>
                    <a:pt x="260" y="192"/>
                  </a:lnTo>
                  <a:lnTo>
                    <a:pt x="272" y="180"/>
                  </a:lnTo>
                  <a:lnTo>
                    <a:pt x="274" y="172"/>
                  </a:lnTo>
                  <a:lnTo>
                    <a:pt x="268" y="168"/>
                  </a:lnTo>
                  <a:lnTo>
                    <a:pt x="262" y="158"/>
                  </a:lnTo>
                  <a:lnTo>
                    <a:pt x="260" y="124"/>
                  </a:lnTo>
                  <a:lnTo>
                    <a:pt x="272" y="120"/>
                  </a:lnTo>
                  <a:lnTo>
                    <a:pt x="264" y="108"/>
                  </a:lnTo>
                  <a:lnTo>
                    <a:pt x="256" y="110"/>
                  </a:lnTo>
                  <a:lnTo>
                    <a:pt x="250" y="108"/>
                  </a:lnTo>
                  <a:lnTo>
                    <a:pt x="254" y="104"/>
                  </a:lnTo>
                  <a:lnTo>
                    <a:pt x="250" y="94"/>
                  </a:lnTo>
                  <a:lnTo>
                    <a:pt x="244" y="90"/>
                  </a:lnTo>
                  <a:lnTo>
                    <a:pt x="232" y="96"/>
                  </a:lnTo>
                  <a:lnTo>
                    <a:pt x="224" y="104"/>
                  </a:lnTo>
                  <a:lnTo>
                    <a:pt x="216" y="104"/>
                  </a:lnTo>
                  <a:lnTo>
                    <a:pt x="210" y="100"/>
                  </a:lnTo>
                  <a:lnTo>
                    <a:pt x="198" y="94"/>
                  </a:lnTo>
                  <a:lnTo>
                    <a:pt x="188" y="90"/>
                  </a:lnTo>
                  <a:lnTo>
                    <a:pt x="180" y="94"/>
                  </a:lnTo>
                  <a:lnTo>
                    <a:pt x="174" y="88"/>
                  </a:lnTo>
                  <a:lnTo>
                    <a:pt x="174" y="80"/>
                  </a:lnTo>
                  <a:lnTo>
                    <a:pt x="168" y="80"/>
                  </a:lnTo>
                  <a:lnTo>
                    <a:pt x="156" y="82"/>
                  </a:lnTo>
                  <a:lnTo>
                    <a:pt x="146" y="80"/>
                  </a:lnTo>
                  <a:lnTo>
                    <a:pt x="146" y="74"/>
                  </a:lnTo>
                  <a:lnTo>
                    <a:pt x="140" y="68"/>
                  </a:lnTo>
                  <a:lnTo>
                    <a:pt x="132" y="68"/>
                  </a:lnTo>
                  <a:lnTo>
                    <a:pt x="128" y="74"/>
                  </a:lnTo>
                  <a:lnTo>
                    <a:pt x="126" y="78"/>
                  </a:lnTo>
                  <a:lnTo>
                    <a:pt x="120" y="74"/>
                  </a:lnTo>
                  <a:lnTo>
                    <a:pt x="112" y="76"/>
                  </a:lnTo>
                  <a:lnTo>
                    <a:pt x="104" y="84"/>
                  </a:lnTo>
                  <a:lnTo>
                    <a:pt x="98" y="78"/>
                  </a:lnTo>
                  <a:lnTo>
                    <a:pt x="100" y="58"/>
                  </a:lnTo>
                  <a:lnTo>
                    <a:pt x="106" y="48"/>
                  </a:lnTo>
                  <a:lnTo>
                    <a:pt x="112" y="42"/>
                  </a:lnTo>
                  <a:lnTo>
                    <a:pt x="110" y="28"/>
                  </a:lnTo>
                  <a:lnTo>
                    <a:pt x="112" y="16"/>
                  </a:lnTo>
                  <a:lnTo>
                    <a:pt x="110" y="0"/>
                  </a:lnTo>
                  <a:lnTo>
                    <a:pt x="104" y="0"/>
                  </a:lnTo>
                  <a:lnTo>
                    <a:pt x="98" y="6"/>
                  </a:lnTo>
                  <a:lnTo>
                    <a:pt x="96" y="20"/>
                  </a:lnTo>
                  <a:lnTo>
                    <a:pt x="92" y="28"/>
                  </a:lnTo>
                  <a:lnTo>
                    <a:pt x="84" y="20"/>
                  </a:lnTo>
                  <a:lnTo>
                    <a:pt x="90" y="10"/>
                  </a:lnTo>
                  <a:lnTo>
                    <a:pt x="82" y="4"/>
                  </a:lnTo>
                  <a:lnTo>
                    <a:pt x="70" y="6"/>
                  </a:lnTo>
                  <a:lnTo>
                    <a:pt x="66" y="14"/>
                  </a:lnTo>
                  <a:lnTo>
                    <a:pt x="68" y="20"/>
                  </a:lnTo>
                  <a:lnTo>
                    <a:pt x="64" y="26"/>
                  </a:lnTo>
                  <a:lnTo>
                    <a:pt x="58" y="24"/>
                  </a:lnTo>
                  <a:lnTo>
                    <a:pt x="52" y="18"/>
                  </a:lnTo>
                  <a:lnTo>
                    <a:pt x="46" y="20"/>
                  </a:lnTo>
                  <a:lnTo>
                    <a:pt x="42" y="26"/>
                  </a:lnTo>
                  <a:lnTo>
                    <a:pt x="48" y="36"/>
                  </a:lnTo>
                  <a:lnTo>
                    <a:pt x="58" y="38"/>
                  </a:lnTo>
                  <a:lnTo>
                    <a:pt x="70" y="50"/>
                  </a:lnTo>
                  <a:lnTo>
                    <a:pt x="76" y="52"/>
                  </a:lnTo>
                  <a:lnTo>
                    <a:pt x="76" y="60"/>
                  </a:lnTo>
                  <a:lnTo>
                    <a:pt x="64" y="62"/>
                  </a:lnTo>
                  <a:lnTo>
                    <a:pt x="66" y="72"/>
                  </a:lnTo>
                  <a:lnTo>
                    <a:pt x="70" y="78"/>
                  </a:lnTo>
                  <a:lnTo>
                    <a:pt x="66" y="84"/>
                  </a:lnTo>
                  <a:lnTo>
                    <a:pt x="56" y="82"/>
                  </a:lnTo>
                  <a:lnTo>
                    <a:pt x="42" y="68"/>
                  </a:lnTo>
                  <a:lnTo>
                    <a:pt x="34" y="60"/>
                  </a:lnTo>
                  <a:lnTo>
                    <a:pt x="20" y="5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28" name="Freeform 122"/>
            <p:cNvSpPr>
              <a:spLocks/>
            </p:cNvSpPr>
            <p:nvPr/>
          </p:nvSpPr>
          <p:spPr bwMode="auto">
            <a:xfrm>
              <a:off x="2049129" y="2101604"/>
              <a:ext cx="19269" cy="47956"/>
            </a:xfrm>
            <a:custGeom>
              <a:avLst/>
              <a:gdLst>
                <a:gd name="T0" fmla="*/ 28 w 28"/>
                <a:gd name="T1" fmla="*/ 0 h 66"/>
                <a:gd name="T2" fmla="*/ 26 w 28"/>
                <a:gd name="T3" fmla="*/ 22 h 66"/>
                <a:gd name="T4" fmla="*/ 18 w 28"/>
                <a:gd name="T5" fmla="*/ 40 h 66"/>
                <a:gd name="T6" fmla="*/ 6 w 28"/>
                <a:gd name="T7" fmla="*/ 50 h 66"/>
                <a:gd name="T8" fmla="*/ 8 w 28"/>
                <a:gd name="T9" fmla="*/ 62 h 66"/>
                <a:gd name="T10" fmla="*/ 2 w 28"/>
                <a:gd name="T11" fmla="*/ 66 h 66"/>
                <a:gd name="T12" fmla="*/ 0 w 28"/>
                <a:gd name="T13" fmla="*/ 52 h 66"/>
                <a:gd name="T14" fmla="*/ 4 w 28"/>
                <a:gd name="T15" fmla="*/ 42 h 66"/>
                <a:gd name="T16" fmla="*/ 8 w 28"/>
                <a:gd name="T17" fmla="*/ 28 h 66"/>
                <a:gd name="T18" fmla="*/ 28 w 28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66">
                  <a:moveTo>
                    <a:pt x="28" y="0"/>
                  </a:moveTo>
                  <a:lnTo>
                    <a:pt x="26" y="22"/>
                  </a:lnTo>
                  <a:lnTo>
                    <a:pt x="18" y="40"/>
                  </a:lnTo>
                  <a:lnTo>
                    <a:pt x="6" y="50"/>
                  </a:lnTo>
                  <a:lnTo>
                    <a:pt x="8" y="62"/>
                  </a:lnTo>
                  <a:lnTo>
                    <a:pt x="2" y="66"/>
                  </a:lnTo>
                  <a:lnTo>
                    <a:pt x="0" y="52"/>
                  </a:lnTo>
                  <a:lnTo>
                    <a:pt x="4" y="42"/>
                  </a:lnTo>
                  <a:lnTo>
                    <a:pt x="8" y="28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29" name="Freeform 123"/>
            <p:cNvSpPr>
              <a:spLocks/>
            </p:cNvSpPr>
            <p:nvPr/>
          </p:nvSpPr>
          <p:spPr bwMode="auto">
            <a:xfrm>
              <a:off x="2049129" y="2101604"/>
              <a:ext cx="19269" cy="47956"/>
            </a:xfrm>
            <a:custGeom>
              <a:avLst/>
              <a:gdLst>
                <a:gd name="T0" fmla="*/ 28 w 28"/>
                <a:gd name="T1" fmla="*/ 0 h 66"/>
                <a:gd name="T2" fmla="*/ 26 w 28"/>
                <a:gd name="T3" fmla="*/ 22 h 66"/>
                <a:gd name="T4" fmla="*/ 18 w 28"/>
                <a:gd name="T5" fmla="*/ 40 h 66"/>
                <a:gd name="T6" fmla="*/ 6 w 28"/>
                <a:gd name="T7" fmla="*/ 50 h 66"/>
                <a:gd name="T8" fmla="*/ 8 w 28"/>
                <a:gd name="T9" fmla="*/ 62 h 66"/>
                <a:gd name="T10" fmla="*/ 2 w 28"/>
                <a:gd name="T11" fmla="*/ 66 h 66"/>
                <a:gd name="T12" fmla="*/ 0 w 28"/>
                <a:gd name="T13" fmla="*/ 52 h 66"/>
                <a:gd name="T14" fmla="*/ 4 w 28"/>
                <a:gd name="T15" fmla="*/ 42 h 66"/>
                <a:gd name="T16" fmla="*/ 8 w 28"/>
                <a:gd name="T17" fmla="*/ 28 h 66"/>
                <a:gd name="T18" fmla="*/ 28 w 28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66">
                  <a:moveTo>
                    <a:pt x="28" y="0"/>
                  </a:moveTo>
                  <a:lnTo>
                    <a:pt x="26" y="22"/>
                  </a:lnTo>
                  <a:lnTo>
                    <a:pt x="18" y="40"/>
                  </a:lnTo>
                  <a:lnTo>
                    <a:pt x="6" y="50"/>
                  </a:lnTo>
                  <a:lnTo>
                    <a:pt x="8" y="62"/>
                  </a:lnTo>
                  <a:lnTo>
                    <a:pt x="2" y="66"/>
                  </a:lnTo>
                  <a:lnTo>
                    <a:pt x="0" y="52"/>
                  </a:lnTo>
                  <a:lnTo>
                    <a:pt x="4" y="42"/>
                  </a:lnTo>
                  <a:lnTo>
                    <a:pt x="8" y="28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30" name="Freeform 124"/>
            <p:cNvSpPr>
              <a:spLocks/>
            </p:cNvSpPr>
            <p:nvPr/>
          </p:nvSpPr>
          <p:spPr bwMode="auto">
            <a:xfrm>
              <a:off x="2091797" y="2079806"/>
              <a:ext cx="24775" cy="37784"/>
            </a:xfrm>
            <a:custGeom>
              <a:avLst/>
              <a:gdLst>
                <a:gd name="T0" fmla="*/ 28 w 36"/>
                <a:gd name="T1" fmla="*/ 0 h 52"/>
                <a:gd name="T2" fmla="*/ 36 w 36"/>
                <a:gd name="T3" fmla="*/ 0 h 52"/>
                <a:gd name="T4" fmla="*/ 26 w 36"/>
                <a:gd name="T5" fmla="*/ 10 h 52"/>
                <a:gd name="T6" fmla="*/ 24 w 36"/>
                <a:gd name="T7" fmla="*/ 18 h 52"/>
                <a:gd name="T8" fmla="*/ 28 w 36"/>
                <a:gd name="T9" fmla="*/ 28 h 52"/>
                <a:gd name="T10" fmla="*/ 18 w 36"/>
                <a:gd name="T11" fmla="*/ 40 h 52"/>
                <a:gd name="T12" fmla="*/ 6 w 36"/>
                <a:gd name="T13" fmla="*/ 52 h 52"/>
                <a:gd name="T14" fmla="*/ 4 w 36"/>
                <a:gd name="T15" fmla="*/ 40 h 52"/>
                <a:gd name="T16" fmla="*/ 0 w 36"/>
                <a:gd name="T17" fmla="*/ 34 h 52"/>
                <a:gd name="T18" fmla="*/ 0 w 36"/>
                <a:gd name="T19" fmla="*/ 24 h 52"/>
                <a:gd name="T20" fmla="*/ 10 w 36"/>
                <a:gd name="T21" fmla="*/ 14 h 52"/>
                <a:gd name="T22" fmla="*/ 28 w 36"/>
                <a:gd name="T23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2">
                  <a:moveTo>
                    <a:pt x="28" y="0"/>
                  </a:moveTo>
                  <a:lnTo>
                    <a:pt x="36" y="0"/>
                  </a:lnTo>
                  <a:lnTo>
                    <a:pt x="26" y="10"/>
                  </a:lnTo>
                  <a:lnTo>
                    <a:pt x="24" y="18"/>
                  </a:lnTo>
                  <a:lnTo>
                    <a:pt x="28" y="28"/>
                  </a:lnTo>
                  <a:lnTo>
                    <a:pt x="18" y="40"/>
                  </a:lnTo>
                  <a:lnTo>
                    <a:pt x="6" y="52"/>
                  </a:lnTo>
                  <a:lnTo>
                    <a:pt x="4" y="40"/>
                  </a:lnTo>
                  <a:lnTo>
                    <a:pt x="0" y="34"/>
                  </a:lnTo>
                  <a:lnTo>
                    <a:pt x="0" y="24"/>
                  </a:lnTo>
                  <a:lnTo>
                    <a:pt x="10" y="1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31" name="Freeform 125"/>
            <p:cNvSpPr>
              <a:spLocks/>
            </p:cNvSpPr>
            <p:nvPr/>
          </p:nvSpPr>
          <p:spPr bwMode="auto">
            <a:xfrm>
              <a:off x="2091797" y="2079806"/>
              <a:ext cx="24775" cy="37784"/>
            </a:xfrm>
            <a:custGeom>
              <a:avLst/>
              <a:gdLst>
                <a:gd name="T0" fmla="*/ 28 w 36"/>
                <a:gd name="T1" fmla="*/ 0 h 52"/>
                <a:gd name="T2" fmla="*/ 36 w 36"/>
                <a:gd name="T3" fmla="*/ 0 h 52"/>
                <a:gd name="T4" fmla="*/ 26 w 36"/>
                <a:gd name="T5" fmla="*/ 10 h 52"/>
                <a:gd name="T6" fmla="*/ 24 w 36"/>
                <a:gd name="T7" fmla="*/ 18 h 52"/>
                <a:gd name="T8" fmla="*/ 28 w 36"/>
                <a:gd name="T9" fmla="*/ 28 h 52"/>
                <a:gd name="T10" fmla="*/ 18 w 36"/>
                <a:gd name="T11" fmla="*/ 40 h 52"/>
                <a:gd name="T12" fmla="*/ 6 w 36"/>
                <a:gd name="T13" fmla="*/ 52 h 52"/>
                <a:gd name="T14" fmla="*/ 4 w 36"/>
                <a:gd name="T15" fmla="*/ 40 h 52"/>
                <a:gd name="T16" fmla="*/ 0 w 36"/>
                <a:gd name="T17" fmla="*/ 34 h 52"/>
                <a:gd name="T18" fmla="*/ 0 w 36"/>
                <a:gd name="T19" fmla="*/ 24 h 52"/>
                <a:gd name="T20" fmla="*/ 10 w 36"/>
                <a:gd name="T21" fmla="*/ 14 h 52"/>
                <a:gd name="T22" fmla="*/ 28 w 36"/>
                <a:gd name="T23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2">
                  <a:moveTo>
                    <a:pt x="28" y="0"/>
                  </a:moveTo>
                  <a:lnTo>
                    <a:pt x="36" y="0"/>
                  </a:lnTo>
                  <a:lnTo>
                    <a:pt x="26" y="10"/>
                  </a:lnTo>
                  <a:lnTo>
                    <a:pt x="24" y="18"/>
                  </a:lnTo>
                  <a:lnTo>
                    <a:pt x="28" y="28"/>
                  </a:lnTo>
                  <a:lnTo>
                    <a:pt x="18" y="40"/>
                  </a:lnTo>
                  <a:lnTo>
                    <a:pt x="6" y="52"/>
                  </a:lnTo>
                  <a:lnTo>
                    <a:pt x="4" y="40"/>
                  </a:lnTo>
                  <a:lnTo>
                    <a:pt x="0" y="34"/>
                  </a:lnTo>
                  <a:lnTo>
                    <a:pt x="0" y="24"/>
                  </a:lnTo>
                  <a:lnTo>
                    <a:pt x="10" y="1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32" name="Freeform 126"/>
            <p:cNvSpPr>
              <a:spLocks/>
            </p:cNvSpPr>
            <p:nvPr/>
          </p:nvSpPr>
          <p:spPr bwMode="auto">
            <a:xfrm>
              <a:off x="1937643" y="1563911"/>
              <a:ext cx="280779" cy="621980"/>
            </a:xfrm>
            <a:custGeom>
              <a:avLst/>
              <a:gdLst>
                <a:gd name="T0" fmla="*/ 320 w 408"/>
                <a:gd name="T1" fmla="*/ 14 h 856"/>
                <a:gd name="T2" fmla="*/ 376 w 408"/>
                <a:gd name="T3" fmla="*/ 52 h 856"/>
                <a:gd name="T4" fmla="*/ 380 w 408"/>
                <a:gd name="T5" fmla="*/ 84 h 856"/>
                <a:gd name="T6" fmla="*/ 394 w 408"/>
                <a:gd name="T7" fmla="*/ 114 h 856"/>
                <a:gd name="T8" fmla="*/ 392 w 408"/>
                <a:gd name="T9" fmla="*/ 150 h 856"/>
                <a:gd name="T10" fmla="*/ 402 w 408"/>
                <a:gd name="T11" fmla="*/ 178 h 856"/>
                <a:gd name="T12" fmla="*/ 400 w 408"/>
                <a:gd name="T13" fmla="*/ 200 h 856"/>
                <a:gd name="T14" fmla="*/ 350 w 408"/>
                <a:gd name="T15" fmla="*/ 204 h 856"/>
                <a:gd name="T16" fmla="*/ 330 w 408"/>
                <a:gd name="T17" fmla="*/ 236 h 856"/>
                <a:gd name="T18" fmla="*/ 324 w 408"/>
                <a:gd name="T19" fmla="*/ 260 h 856"/>
                <a:gd name="T20" fmla="*/ 326 w 408"/>
                <a:gd name="T21" fmla="*/ 294 h 856"/>
                <a:gd name="T22" fmla="*/ 310 w 408"/>
                <a:gd name="T23" fmla="*/ 328 h 856"/>
                <a:gd name="T24" fmla="*/ 264 w 408"/>
                <a:gd name="T25" fmla="*/ 354 h 856"/>
                <a:gd name="T26" fmla="*/ 246 w 408"/>
                <a:gd name="T27" fmla="*/ 370 h 856"/>
                <a:gd name="T28" fmla="*/ 226 w 408"/>
                <a:gd name="T29" fmla="*/ 410 h 856"/>
                <a:gd name="T30" fmla="*/ 218 w 408"/>
                <a:gd name="T31" fmla="*/ 442 h 856"/>
                <a:gd name="T32" fmla="*/ 200 w 408"/>
                <a:gd name="T33" fmla="*/ 484 h 856"/>
                <a:gd name="T34" fmla="*/ 228 w 408"/>
                <a:gd name="T35" fmla="*/ 540 h 856"/>
                <a:gd name="T36" fmla="*/ 250 w 408"/>
                <a:gd name="T37" fmla="*/ 584 h 856"/>
                <a:gd name="T38" fmla="*/ 226 w 408"/>
                <a:gd name="T39" fmla="*/ 600 h 856"/>
                <a:gd name="T40" fmla="*/ 204 w 408"/>
                <a:gd name="T41" fmla="*/ 602 h 856"/>
                <a:gd name="T42" fmla="*/ 158 w 408"/>
                <a:gd name="T43" fmla="*/ 606 h 856"/>
                <a:gd name="T44" fmla="*/ 202 w 408"/>
                <a:gd name="T45" fmla="*/ 616 h 856"/>
                <a:gd name="T46" fmla="*/ 226 w 408"/>
                <a:gd name="T47" fmla="*/ 628 h 856"/>
                <a:gd name="T48" fmla="*/ 210 w 408"/>
                <a:gd name="T49" fmla="*/ 640 h 856"/>
                <a:gd name="T50" fmla="*/ 182 w 408"/>
                <a:gd name="T51" fmla="*/ 664 h 856"/>
                <a:gd name="T52" fmla="*/ 174 w 408"/>
                <a:gd name="T53" fmla="*/ 688 h 856"/>
                <a:gd name="T54" fmla="*/ 164 w 408"/>
                <a:gd name="T55" fmla="*/ 744 h 856"/>
                <a:gd name="T56" fmla="*/ 150 w 408"/>
                <a:gd name="T57" fmla="*/ 782 h 856"/>
                <a:gd name="T58" fmla="*/ 116 w 408"/>
                <a:gd name="T59" fmla="*/ 810 h 856"/>
                <a:gd name="T60" fmla="*/ 84 w 408"/>
                <a:gd name="T61" fmla="*/ 822 h 856"/>
                <a:gd name="T62" fmla="*/ 78 w 408"/>
                <a:gd name="T63" fmla="*/ 848 h 856"/>
                <a:gd name="T64" fmla="*/ 46 w 408"/>
                <a:gd name="T65" fmla="*/ 856 h 856"/>
                <a:gd name="T66" fmla="*/ 32 w 408"/>
                <a:gd name="T67" fmla="*/ 842 h 856"/>
                <a:gd name="T68" fmla="*/ 18 w 408"/>
                <a:gd name="T69" fmla="*/ 794 h 856"/>
                <a:gd name="T70" fmla="*/ 30 w 408"/>
                <a:gd name="T71" fmla="*/ 784 h 856"/>
                <a:gd name="T72" fmla="*/ 32 w 408"/>
                <a:gd name="T73" fmla="*/ 768 h 856"/>
                <a:gd name="T74" fmla="*/ 18 w 408"/>
                <a:gd name="T75" fmla="*/ 724 h 856"/>
                <a:gd name="T76" fmla="*/ 8 w 408"/>
                <a:gd name="T77" fmla="*/ 690 h 856"/>
                <a:gd name="T78" fmla="*/ 0 w 408"/>
                <a:gd name="T79" fmla="*/ 636 h 856"/>
                <a:gd name="T80" fmla="*/ 14 w 408"/>
                <a:gd name="T81" fmla="*/ 616 h 856"/>
                <a:gd name="T82" fmla="*/ 24 w 408"/>
                <a:gd name="T83" fmla="*/ 562 h 856"/>
                <a:gd name="T84" fmla="*/ 50 w 408"/>
                <a:gd name="T85" fmla="*/ 530 h 856"/>
                <a:gd name="T86" fmla="*/ 42 w 408"/>
                <a:gd name="T87" fmla="*/ 474 h 856"/>
                <a:gd name="T88" fmla="*/ 54 w 408"/>
                <a:gd name="T89" fmla="*/ 448 h 856"/>
                <a:gd name="T90" fmla="*/ 48 w 408"/>
                <a:gd name="T91" fmla="*/ 400 h 856"/>
                <a:gd name="T92" fmla="*/ 60 w 408"/>
                <a:gd name="T93" fmla="*/ 344 h 856"/>
                <a:gd name="T94" fmla="*/ 94 w 408"/>
                <a:gd name="T95" fmla="*/ 306 h 856"/>
                <a:gd name="T96" fmla="*/ 128 w 408"/>
                <a:gd name="T97" fmla="*/ 294 h 856"/>
                <a:gd name="T98" fmla="*/ 114 w 408"/>
                <a:gd name="T99" fmla="*/ 260 h 856"/>
                <a:gd name="T100" fmla="*/ 128 w 408"/>
                <a:gd name="T101" fmla="*/ 232 h 856"/>
                <a:gd name="T102" fmla="*/ 136 w 408"/>
                <a:gd name="T103" fmla="*/ 188 h 856"/>
                <a:gd name="T104" fmla="*/ 172 w 408"/>
                <a:gd name="T105" fmla="*/ 162 h 856"/>
                <a:gd name="T106" fmla="*/ 188 w 408"/>
                <a:gd name="T107" fmla="*/ 126 h 856"/>
                <a:gd name="T108" fmla="*/ 214 w 408"/>
                <a:gd name="T109" fmla="*/ 74 h 856"/>
                <a:gd name="T110" fmla="*/ 242 w 408"/>
                <a:gd name="T111" fmla="*/ 50 h 856"/>
                <a:gd name="T112" fmla="*/ 270 w 408"/>
                <a:gd name="T113" fmla="*/ 30 h 856"/>
                <a:gd name="T114" fmla="*/ 304 w 408"/>
                <a:gd name="T115" fmla="*/ 0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8" h="856">
                  <a:moveTo>
                    <a:pt x="308" y="0"/>
                  </a:moveTo>
                  <a:lnTo>
                    <a:pt x="312" y="2"/>
                  </a:lnTo>
                  <a:lnTo>
                    <a:pt x="320" y="14"/>
                  </a:lnTo>
                  <a:lnTo>
                    <a:pt x="356" y="50"/>
                  </a:lnTo>
                  <a:lnTo>
                    <a:pt x="362" y="42"/>
                  </a:lnTo>
                  <a:lnTo>
                    <a:pt x="376" y="52"/>
                  </a:lnTo>
                  <a:lnTo>
                    <a:pt x="380" y="62"/>
                  </a:lnTo>
                  <a:lnTo>
                    <a:pt x="380" y="70"/>
                  </a:lnTo>
                  <a:lnTo>
                    <a:pt x="380" y="84"/>
                  </a:lnTo>
                  <a:lnTo>
                    <a:pt x="376" y="92"/>
                  </a:lnTo>
                  <a:lnTo>
                    <a:pt x="386" y="104"/>
                  </a:lnTo>
                  <a:lnTo>
                    <a:pt x="394" y="114"/>
                  </a:lnTo>
                  <a:lnTo>
                    <a:pt x="394" y="122"/>
                  </a:lnTo>
                  <a:lnTo>
                    <a:pt x="394" y="134"/>
                  </a:lnTo>
                  <a:lnTo>
                    <a:pt x="392" y="150"/>
                  </a:lnTo>
                  <a:lnTo>
                    <a:pt x="386" y="156"/>
                  </a:lnTo>
                  <a:lnTo>
                    <a:pt x="394" y="164"/>
                  </a:lnTo>
                  <a:lnTo>
                    <a:pt x="402" y="178"/>
                  </a:lnTo>
                  <a:lnTo>
                    <a:pt x="408" y="192"/>
                  </a:lnTo>
                  <a:lnTo>
                    <a:pt x="408" y="196"/>
                  </a:lnTo>
                  <a:lnTo>
                    <a:pt x="400" y="200"/>
                  </a:lnTo>
                  <a:lnTo>
                    <a:pt x="364" y="200"/>
                  </a:lnTo>
                  <a:lnTo>
                    <a:pt x="356" y="200"/>
                  </a:lnTo>
                  <a:lnTo>
                    <a:pt x="350" y="204"/>
                  </a:lnTo>
                  <a:lnTo>
                    <a:pt x="350" y="214"/>
                  </a:lnTo>
                  <a:lnTo>
                    <a:pt x="346" y="222"/>
                  </a:lnTo>
                  <a:lnTo>
                    <a:pt x="330" y="236"/>
                  </a:lnTo>
                  <a:lnTo>
                    <a:pt x="332" y="248"/>
                  </a:lnTo>
                  <a:lnTo>
                    <a:pt x="330" y="256"/>
                  </a:lnTo>
                  <a:lnTo>
                    <a:pt x="324" y="260"/>
                  </a:lnTo>
                  <a:lnTo>
                    <a:pt x="330" y="276"/>
                  </a:lnTo>
                  <a:lnTo>
                    <a:pt x="332" y="288"/>
                  </a:lnTo>
                  <a:lnTo>
                    <a:pt x="326" y="294"/>
                  </a:lnTo>
                  <a:lnTo>
                    <a:pt x="316" y="304"/>
                  </a:lnTo>
                  <a:lnTo>
                    <a:pt x="312" y="314"/>
                  </a:lnTo>
                  <a:lnTo>
                    <a:pt x="310" y="328"/>
                  </a:lnTo>
                  <a:lnTo>
                    <a:pt x="290" y="336"/>
                  </a:lnTo>
                  <a:lnTo>
                    <a:pt x="280" y="344"/>
                  </a:lnTo>
                  <a:lnTo>
                    <a:pt x="264" y="354"/>
                  </a:lnTo>
                  <a:lnTo>
                    <a:pt x="266" y="362"/>
                  </a:lnTo>
                  <a:lnTo>
                    <a:pt x="252" y="364"/>
                  </a:lnTo>
                  <a:lnTo>
                    <a:pt x="246" y="370"/>
                  </a:lnTo>
                  <a:lnTo>
                    <a:pt x="234" y="388"/>
                  </a:lnTo>
                  <a:lnTo>
                    <a:pt x="222" y="396"/>
                  </a:lnTo>
                  <a:lnTo>
                    <a:pt x="226" y="410"/>
                  </a:lnTo>
                  <a:lnTo>
                    <a:pt x="218" y="414"/>
                  </a:lnTo>
                  <a:lnTo>
                    <a:pt x="212" y="420"/>
                  </a:lnTo>
                  <a:lnTo>
                    <a:pt x="218" y="442"/>
                  </a:lnTo>
                  <a:lnTo>
                    <a:pt x="216" y="456"/>
                  </a:lnTo>
                  <a:lnTo>
                    <a:pt x="202" y="462"/>
                  </a:lnTo>
                  <a:lnTo>
                    <a:pt x="200" y="484"/>
                  </a:lnTo>
                  <a:lnTo>
                    <a:pt x="202" y="512"/>
                  </a:lnTo>
                  <a:lnTo>
                    <a:pt x="208" y="524"/>
                  </a:lnTo>
                  <a:lnTo>
                    <a:pt x="228" y="540"/>
                  </a:lnTo>
                  <a:lnTo>
                    <a:pt x="236" y="556"/>
                  </a:lnTo>
                  <a:lnTo>
                    <a:pt x="244" y="572"/>
                  </a:lnTo>
                  <a:lnTo>
                    <a:pt x="250" y="584"/>
                  </a:lnTo>
                  <a:lnTo>
                    <a:pt x="244" y="594"/>
                  </a:lnTo>
                  <a:lnTo>
                    <a:pt x="234" y="602"/>
                  </a:lnTo>
                  <a:lnTo>
                    <a:pt x="226" y="600"/>
                  </a:lnTo>
                  <a:lnTo>
                    <a:pt x="218" y="592"/>
                  </a:lnTo>
                  <a:lnTo>
                    <a:pt x="208" y="594"/>
                  </a:lnTo>
                  <a:lnTo>
                    <a:pt x="204" y="602"/>
                  </a:lnTo>
                  <a:lnTo>
                    <a:pt x="188" y="602"/>
                  </a:lnTo>
                  <a:lnTo>
                    <a:pt x="164" y="600"/>
                  </a:lnTo>
                  <a:lnTo>
                    <a:pt x="158" y="606"/>
                  </a:lnTo>
                  <a:lnTo>
                    <a:pt x="174" y="612"/>
                  </a:lnTo>
                  <a:lnTo>
                    <a:pt x="196" y="606"/>
                  </a:lnTo>
                  <a:lnTo>
                    <a:pt x="202" y="616"/>
                  </a:lnTo>
                  <a:lnTo>
                    <a:pt x="218" y="618"/>
                  </a:lnTo>
                  <a:lnTo>
                    <a:pt x="230" y="624"/>
                  </a:lnTo>
                  <a:lnTo>
                    <a:pt x="226" y="628"/>
                  </a:lnTo>
                  <a:lnTo>
                    <a:pt x="210" y="626"/>
                  </a:lnTo>
                  <a:lnTo>
                    <a:pt x="208" y="632"/>
                  </a:lnTo>
                  <a:lnTo>
                    <a:pt x="210" y="640"/>
                  </a:lnTo>
                  <a:lnTo>
                    <a:pt x="202" y="650"/>
                  </a:lnTo>
                  <a:lnTo>
                    <a:pt x="188" y="660"/>
                  </a:lnTo>
                  <a:lnTo>
                    <a:pt x="182" y="664"/>
                  </a:lnTo>
                  <a:lnTo>
                    <a:pt x="178" y="666"/>
                  </a:lnTo>
                  <a:lnTo>
                    <a:pt x="180" y="680"/>
                  </a:lnTo>
                  <a:lnTo>
                    <a:pt x="174" y="688"/>
                  </a:lnTo>
                  <a:lnTo>
                    <a:pt x="166" y="704"/>
                  </a:lnTo>
                  <a:lnTo>
                    <a:pt x="170" y="720"/>
                  </a:lnTo>
                  <a:lnTo>
                    <a:pt x="164" y="744"/>
                  </a:lnTo>
                  <a:lnTo>
                    <a:pt x="158" y="754"/>
                  </a:lnTo>
                  <a:lnTo>
                    <a:pt x="158" y="770"/>
                  </a:lnTo>
                  <a:lnTo>
                    <a:pt x="150" y="782"/>
                  </a:lnTo>
                  <a:lnTo>
                    <a:pt x="140" y="800"/>
                  </a:lnTo>
                  <a:lnTo>
                    <a:pt x="136" y="814"/>
                  </a:lnTo>
                  <a:lnTo>
                    <a:pt x="116" y="810"/>
                  </a:lnTo>
                  <a:lnTo>
                    <a:pt x="98" y="810"/>
                  </a:lnTo>
                  <a:lnTo>
                    <a:pt x="94" y="818"/>
                  </a:lnTo>
                  <a:lnTo>
                    <a:pt x="84" y="822"/>
                  </a:lnTo>
                  <a:lnTo>
                    <a:pt x="78" y="824"/>
                  </a:lnTo>
                  <a:lnTo>
                    <a:pt x="80" y="834"/>
                  </a:lnTo>
                  <a:lnTo>
                    <a:pt x="78" y="848"/>
                  </a:lnTo>
                  <a:lnTo>
                    <a:pt x="64" y="856"/>
                  </a:lnTo>
                  <a:lnTo>
                    <a:pt x="56" y="848"/>
                  </a:lnTo>
                  <a:lnTo>
                    <a:pt x="46" y="856"/>
                  </a:lnTo>
                  <a:lnTo>
                    <a:pt x="32" y="856"/>
                  </a:lnTo>
                  <a:lnTo>
                    <a:pt x="26" y="848"/>
                  </a:lnTo>
                  <a:lnTo>
                    <a:pt x="32" y="842"/>
                  </a:lnTo>
                  <a:lnTo>
                    <a:pt x="34" y="826"/>
                  </a:lnTo>
                  <a:lnTo>
                    <a:pt x="24" y="806"/>
                  </a:lnTo>
                  <a:lnTo>
                    <a:pt x="18" y="794"/>
                  </a:lnTo>
                  <a:lnTo>
                    <a:pt x="22" y="788"/>
                  </a:lnTo>
                  <a:lnTo>
                    <a:pt x="26" y="788"/>
                  </a:lnTo>
                  <a:lnTo>
                    <a:pt x="30" y="784"/>
                  </a:lnTo>
                  <a:lnTo>
                    <a:pt x="32" y="778"/>
                  </a:lnTo>
                  <a:lnTo>
                    <a:pt x="34" y="774"/>
                  </a:lnTo>
                  <a:lnTo>
                    <a:pt x="32" y="768"/>
                  </a:lnTo>
                  <a:lnTo>
                    <a:pt x="26" y="758"/>
                  </a:lnTo>
                  <a:lnTo>
                    <a:pt x="16" y="742"/>
                  </a:lnTo>
                  <a:lnTo>
                    <a:pt x="18" y="724"/>
                  </a:lnTo>
                  <a:lnTo>
                    <a:pt x="10" y="712"/>
                  </a:lnTo>
                  <a:lnTo>
                    <a:pt x="2" y="704"/>
                  </a:lnTo>
                  <a:lnTo>
                    <a:pt x="8" y="690"/>
                  </a:lnTo>
                  <a:lnTo>
                    <a:pt x="14" y="664"/>
                  </a:lnTo>
                  <a:lnTo>
                    <a:pt x="2" y="650"/>
                  </a:lnTo>
                  <a:lnTo>
                    <a:pt x="0" y="636"/>
                  </a:lnTo>
                  <a:lnTo>
                    <a:pt x="0" y="628"/>
                  </a:lnTo>
                  <a:lnTo>
                    <a:pt x="4" y="612"/>
                  </a:lnTo>
                  <a:lnTo>
                    <a:pt x="14" y="616"/>
                  </a:lnTo>
                  <a:lnTo>
                    <a:pt x="22" y="594"/>
                  </a:lnTo>
                  <a:lnTo>
                    <a:pt x="22" y="570"/>
                  </a:lnTo>
                  <a:lnTo>
                    <a:pt x="24" y="562"/>
                  </a:lnTo>
                  <a:lnTo>
                    <a:pt x="34" y="554"/>
                  </a:lnTo>
                  <a:lnTo>
                    <a:pt x="50" y="544"/>
                  </a:lnTo>
                  <a:lnTo>
                    <a:pt x="50" y="530"/>
                  </a:lnTo>
                  <a:lnTo>
                    <a:pt x="48" y="490"/>
                  </a:lnTo>
                  <a:lnTo>
                    <a:pt x="42" y="484"/>
                  </a:lnTo>
                  <a:lnTo>
                    <a:pt x="42" y="474"/>
                  </a:lnTo>
                  <a:lnTo>
                    <a:pt x="56" y="468"/>
                  </a:lnTo>
                  <a:lnTo>
                    <a:pt x="62" y="462"/>
                  </a:lnTo>
                  <a:lnTo>
                    <a:pt x="54" y="448"/>
                  </a:lnTo>
                  <a:lnTo>
                    <a:pt x="42" y="432"/>
                  </a:lnTo>
                  <a:lnTo>
                    <a:pt x="46" y="412"/>
                  </a:lnTo>
                  <a:lnTo>
                    <a:pt x="48" y="400"/>
                  </a:lnTo>
                  <a:lnTo>
                    <a:pt x="60" y="376"/>
                  </a:lnTo>
                  <a:lnTo>
                    <a:pt x="60" y="364"/>
                  </a:lnTo>
                  <a:lnTo>
                    <a:pt x="60" y="344"/>
                  </a:lnTo>
                  <a:lnTo>
                    <a:pt x="68" y="324"/>
                  </a:lnTo>
                  <a:lnTo>
                    <a:pt x="80" y="314"/>
                  </a:lnTo>
                  <a:lnTo>
                    <a:pt x="94" y="306"/>
                  </a:lnTo>
                  <a:lnTo>
                    <a:pt x="108" y="308"/>
                  </a:lnTo>
                  <a:lnTo>
                    <a:pt x="122" y="314"/>
                  </a:lnTo>
                  <a:lnTo>
                    <a:pt x="128" y="294"/>
                  </a:lnTo>
                  <a:lnTo>
                    <a:pt x="122" y="280"/>
                  </a:lnTo>
                  <a:lnTo>
                    <a:pt x="116" y="268"/>
                  </a:lnTo>
                  <a:lnTo>
                    <a:pt x="114" y="260"/>
                  </a:lnTo>
                  <a:lnTo>
                    <a:pt x="116" y="252"/>
                  </a:lnTo>
                  <a:lnTo>
                    <a:pt x="126" y="250"/>
                  </a:lnTo>
                  <a:lnTo>
                    <a:pt x="128" y="232"/>
                  </a:lnTo>
                  <a:lnTo>
                    <a:pt x="134" y="214"/>
                  </a:lnTo>
                  <a:lnTo>
                    <a:pt x="136" y="202"/>
                  </a:lnTo>
                  <a:lnTo>
                    <a:pt x="136" y="188"/>
                  </a:lnTo>
                  <a:lnTo>
                    <a:pt x="144" y="176"/>
                  </a:lnTo>
                  <a:lnTo>
                    <a:pt x="162" y="164"/>
                  </a:lnTo>
                  <a:lnTo>
                    <a:pt x="172" y="162"/>
                  </a:lnTo>
                  <a:lnTo>
                    <a:pt x="172" y="148"/>
                  </a:lnTo>
                  <a:lnTo>
                    <a:pt x="178" y="140"/>
                  </a:lnTo>
                  <a:lnTo>
                    <a:pt x="188" y="126"/>
                  </a:lnTo>
                  <a:lnTo>
                    <a:pt x="200" y="120"/>
                  </a:lnTo>
                  <a:lnTo>
                    <a:pt x="194" y="96"/>
                  </a:lnTo>
                  <a:lnTo>
                    <a:pt x="214" y="74"/>
                  </a:lnTo>
                  <a:lnTo>
                    <a:pt x="218" y="64"/>
                  </a:lnTo>
                  <a:lnTo>
                    <a:pt x="234" y="62"/>
                  </a:lnTo>
                  <a:lnTo>
                    <a:pt x="242" y="50"/>
                  </a:lnTo>
                  <a:lnTo>
                    <a:pt x="242" y="42"/>
                  </a:lnTo>
                  <a:lnTo>
                    <a:pt x="252" y="32"/>
                  </a:lnTo>
                  <a:lnTo>
                    <a:pt x="270" y="30"/>
                  </a:lnTo>
                  <a:lnTo>
                    <a:pt x="290" y="30"/>
                  </a:lnTo>
                  <a:lnTo>
                    <a:pt x="308" y="14"/>
                  </a:lnTo>
                  <a:lnTo>
                    <a:pt x="304" y="0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33" name="Freeform 127"/>
            <p:cNvSpPr>
              <a:spLocks/>
            </p:cNvSpPr>
            <p:nvPr/>
          </p:nvSpPr>
          <p:spPr bwMode="auto">
            <a:xfrm>
              <a:off x="1937643" y="1563911"/>
              <a:ext cx="280779" cy="621980"/>
            </a:xfrm>
            <a:custGeom>
              <a:avLst/>
              <a:gdLst>
                <a:gd name="T0" fmla="*/ 320 w 408"/>
                <a:gd name="T1" fmla="*/ 14 h 856"/>
                <a:gd name="T2" fmla="*/ 376 w 408"/>
                <a:gd name="T3" fmla="*/ 52 h 856"/>
                <a:gd name="T4" fmla="*/ 380 w 408"/>
                <a:gd name="T5" fmla="*/ 84 h 856"/>
                <a:gd name="T6" fmla="*/ 394 w 408"/>
                <a:gd name="T7" fmla="*/ 114 h 856"/>
                <a:gd name="T8" fmla="*/ 392 w 408"/>
                <a:gd name="T9" fmla="*/ 150 h 856"/>
                <a:gd name="T10" fmla="*/ 402 w 408"/>
                <a:gd name="T11" fmla="*/ 178 h 856"/>
                <a:gd name="T12" fmla="*/ 400 w 408"/>
                <a:gd name="T13" fmla="*/ 200 h 856"/>
                <a:gd name="T14" fmla="*/ 350 w 408"/>
                <a:gd name="T15" fmla="*/ 204 h 856"/>
                <a:gd name="T16" fmla="*/ 330 w 408"/>
                <a:gd name="T17" fmla="*/ 236 h 856"/>
                <a:gd name="T18" fmla="*/ 324 w 408"/>
                <a:gd name="T19" fmla="*/ 260 h 856"/>
                <a:gd name="T20" fmla="*/ 326 w 408"/>
                <a:gd name="T21" fmla="*/ 294 h 856"/>
                <a:gd name="T22" fmla="*/ 310 w 408"/>
                <a:gd name="T23" fmla="*/ 328 h 856"/>
                <a:gd name="T24" fmla="*/ 264 w 408"/>
                <a:gd name="T25" fmla="*/ 354 h 856"/>
                <a:gd name="T26" fmla="*/ 246 w 408"/>
                <a:gd name="T27" fmla="*/ 370 h 856"/>
                <a:gd name="T28" fmla="*/ 226 w 408"/>
                <a:gd name="T29" fmla="*/ 410 h 856"/>
                <a:gd name="T30" fmla="*/ 218 w 408"/>
                <a:gd name="T31" fmla="*/ 442 h 856"/>
                <a:gd name="T32" fmla="*/ 200 w 408"/>
                <a:gd name="T33" fmla="*/ 484 h 856"/>
                <a:gd name="T34" fmla="*/ 228 w 408"/>
                <a:gd name="T35" fmla="*/ 540 h 856"/>
                <a:gd name="T36" fmla="*/ 250 w 408"/>
                <a:gd name="T37" fmla="*/ 584 h 856"/>
                <a:gd name="T38" fmla="*/ 226 w 408"/>
                <a:gd name="T39" fmla="*/ 600 h 856"/>
                <a:gd name="T40" fmla="*/ 204 w 408"/>
                <a:gd name="T41" fmla="*/ 602 h 856"/>
                <a:gd name="T42" fmla="*/ 158 w 408"/>
                <a:gd name="T43" fmla="*/ 606 h 856"/>
                <a:gd name="T44" fmla="*/ 202 w 408"/>
                <a:gd name="T45" fmla="*/ 616 h 856"/>
                <a:gd name="T46" fmla="*/ 226 w 408"/>
                <a:gd name="T47" fmla="*/ 628 h 856"/>
                <a:gd name="T48" fmla="*/ 210 w 408"/>
                <a:gd name="T49" fmla="*/ 640 h 856"/>
                <a:gd name="T50" fmla="*/ 182 w 408"/>
                <a:gd name="T51" fmla="*/ 664 h 856"/>
                <a:gd name="T52" fmla="*/ 174 w 408"/>
                <a:gd name="T53" fmla="*/ 688 h 856"/>
                <a:gd name="T54" fmla="*/ 164 w 408"/>
                <a:gd name="T55" fmla="*/ 744 h 856"/>
                <a:gd name="T56" fmla="*/ 150 w 408"/>
                <a:gd name="T57" fmla="*/ 782 h 856"/>
                <a:gd name="T58" fmla="*/ 116 w 408"/>
                <a:gd name="T59" fmla="*/ 810 h 856"/>
                <a:gd name="T60" fmla="*/ 84 w 408"/>
                <a:gd name="T61" fmla="*/ 822 h 856"/>
                <a:gd name="T62" fmla="*/ 78 w 408"/>
                <a:gd name="T63" fmla="*/ 848 h 856"/>
                <a:gd name="T64" fmla="*/ 46 w 408"/>
                <a:gd name="T65" fmla="*/ 856 h 856"/>
                <a:gd name="T66" fmla="*/ 32 w 408"/>
                <a:gd name="T67" fmla="*/ 842 h 856"/>
                <a:gd name="T68" fmla="*/ 18 w 408"/>
                <a:gd name="T69" fmla="*/ 794 h 856"/>
                <a:gd name="T70" fmla="*/ 30 w 408"/>
                <a:gd name="T71" fmla="*/ 784 h 856"/>
                <a:gd name="T72" fmla="*/ 32 w 408"/>
                <a:gd name="T73" fmla="*/ 768 h 856"/>
                <a:gd name="T74" fmla="*/ 18 w 408"/>
                <a:gd name="T75" fmla="*/ 724 h 856"/>
                <a:gd name="T76" fmla="*/ 8 w 408"/>
                <a:gd name="T77" fmla="*/ 690 h 856"/>
                <a:gd name="T78" fmla="*/ 0 w 408"/>
                <a:gd name="T79" fmla="*/ 636 h 856"/>
                <a:gd name="T80" fmla="*/ 14 w 408"/>
                <a:gd name="T81" fmla="*/ 616 h 856"/>
                <a:gd name="T82" fmla="*/ 24 w 408"/>
                <a:gd name="T83" fmla="*/ 562 h 856"/>
                <a:gd name="T84" fmla="*/ 50 w 408"/>
                <a:gd name="T85" fmla="*/ 530 h 856"/>
                <a:gd name="T86" fmla="*/ 42 w 408"/>
                <a:gd name="T87" fmla="*/ 474 h 856"/>
                <a:gd name="T88" fmla="*/ 54 w 408"/>
                <a:gd name="T89" fmla="*/ 448 h 856"/>
                <a:gd name="T90" fmla="*/ 48 w 408"/>
                <a:gd name="T91" fmla="*/ 400 h 856"/>
                <a:gd name="T92" fmla="*/ 60 w 408"/>
                <a:gd name="T93" fmla="*/ 344 h 856"/>
                <a:gd name="T94" fmla="*/ 94 w 408"/>
                <a:gd name="T95" fmla="*/ 306 h 856"/>
                <a:gd name="T96" fmla="*/ 128 w 408"/>
                <a:gd name="T97" fmla="*/ 294 h 856"/>
                <a:gd name="T98" fmla="*/ 114 w 408"/>
                <a:gd name="T99" fmla="*/ 260 h 856"/>
                <a:gd name="T100" fmla="*/ 128 w 408"/>
                <a:gd name="T101" fmla="*/ 232 h 856"/>
                <a:gd name="T102" fmla="*/ 136 w 408"/>
                <a:gd name="T103" fmla="*/ 188 h 856"/>
                <a:gd name="T104" fmla="*/ 172 w 408"/>
                <a:gd name="T105" fmla="*/ 162 h 856"/>
                <a:gd name="T106" fmla="*/ 188 w 408"/>
                <a:gd name="T107" fmla="*/ 126 h 856"/>
                <a:gd name="T108" fmla="*/ 214 w 408"/>
                <a:gd name="T109" fmla="*/ 74 h 856"/>
                <a:gd name="T110" fmla="*/ 242 w 408"/>
                <a:gd name="T111" fmla="*/ 50 h 856"/>
                <a:gd name="T112" fmla="*/ 270 w 408"/>
                <a:gd name="T113" fmla="*/ 30 h 856"/>
                <a:gd name="T114" fmla="*/ 304 w 408"/>
                <a:gd name="T115" fmla="*/ 0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8" h="856">
                  <a:moveTo>
                    <a:pt x="308" y="0"/>
                  </a:moveTo>
                  <a:lnTo>
                    <a:pt x="312" y="2"/>
                  </a:lnTo>
                  <a:lnTo>
                    <a:pt x="320" y="14"/>
                  </a:lnTo>
                  <a:lnTo>
                    <a:pt x="356" y="50"/>
                  </a:lnTo>
                  <a:lnTo>
                    <a:pt x="362" y="42"/>
                  </a:lnTo>
                  <a:lnTo>
                    <a:pt x="376" y="52"/>
                  </a:lnTo>
                  <a:lnTo>
                    <a:pt x="380" y="62"/>
                  </a:lnTo>
                  <a:lnTo>
                    <a:pt x="380" y="70"/>
                  </a:lnTo>
                  <a:lnTo>
                    <a:pt x="380" y="84"/>
                  </a:lnTo>
                  <a:lnTo>
                    <a:pt x="376" y="92"/>
                  </a:lnTo>
                  <a:lnTo>
                    <a:pt x="386" y="104"/>
                  </a:lnTo>
                  <a:lnTo>
                    <a:pt x="394" y="114"/>
                  </a:lnTo>
                  <a:lnTo>
                    <a:pt x="394" y="122"/>
                  </a:lnTo>
                  <a:lnTo>
                    <a:pt x="394" y="134"/>
                  </a:lnTo>
                  <a:lnTo>
                    <a:pt x="392" y="150"/>
                  </a:lnTo>
                  <a:lnTo>
                    <a:pt x="386" y="156"/>
                  </a:lnTo>
                  <a:lnTo>
                    <a:pt x="394" y="164"/>
                  </a:lnTo>
                  <a:lnTo>
                    <a:pt x="402" y="178"/>
                  </a:lnTo>
                  <a:lnTo>
                    <a:pt x="408" y="192"/>
                  </a:lnTo>
                  <a:lnTo>
                    <a:pt x="408" y="196"/>
                  </a:lnTo>
                  <a:lnTo>
                    <a:pt x="400" y="200"/>
                  </a:lnTo>
                  <a:lnTo>
                    <a:pt x="364" y="200"/>
                  </a:lnTo>
                  <a:lnTo>
                    <a:pt x="356" y="200"/>
                  </a:lnTo>
                  <a:lnTo>
                    <a:pt x="350" y="204"/>
                  </a:lnTo>
                  <a:lnTo>
                    <a:pt x="350" y="214"/>
                  </a:lnTo>
                  <a:lnTo>
                    <a:pt x="346" y="222"/>
                  </a:lnTo>
                  <a:lnTo>
                    <a:pt x="330" y="236"/>
                  </a:lnTo>
                  <a:lnTo>
                    <a:pt x="332" y="248"/>
                  </a:lnTo>
                  <a:lnTo>
                    <a:pt x="330" y="256"/>
                  </a:lnTo>
                  <a:lnTo>
                    <a:pt x="324" y="260"/>
                  </a:lnTo>
                  <a:lnTo>
                    <a:pt x="330" y="276"/>
                  </a:lnTo>
                  <a:lnTo>
                    <a:pt x="332" y="288"/>
                  </a:lnTo>
                  <a:lnTo>
                    <a:pt x="326" y="294"/>
                  </a:lnTo>
                  <a:lnTo>
                    <a:pt x="316" y="304"/>
                  </a:lnTo>
                  <a:lnTo>
                    <a:pt x="312" y="314"/>
                  </a:lnTo>
                  <a:lnTo>
                    <a:pt x="310" y="328"/>
                  </a:lnTo>
                  <a:lnTo>
                    <a:pt x="290" y="336"/>
                  </a:lnTo>
                  <a:lnTo>
                    <a:pt x="280" y="344"/>
                  </a:lnTo>
                  <a:lnTo>
                    <a:pt x="264" y="354"/>
                  </a:lnTo>
                  <a:lnTo>
                    <a:pt x="266" y="362"/>
                  </a:lnTo>
                  <a:lnTo>
                    <a:pt x="252" y="364"/>
                  </a:lnTo>
                  <a:lnTo>
                    <a:pt x="246" y="370"/>
                  </a:lnTo>
                  <a:lnTo>
                    <a:pt x="234" y="388"/>
                  </a:lnTo>
                  <a:lnTo>
                    <a:pt x="222" y="396"/>
                  </a:lnTo>
                  <a:lnTo>
                    <a:pt x="226" y="410"/>
                  </a:lnTo>
                  <a:lnTo>
                    <a:pt x="218" y="414"/>
                  </a:lnTo>
                  <a:lnTo>
                    <a:pt x="212" y="420"/>
                  </a:lnTo>
                  <a:lnTo>
                    <a:pt x="218" y="442"/>
                  </a:lnTo>
                  <a:lnTo>
                    <a:pt x="216" y="456"/>
                  </a:lnTo>
                  <a:lnTo>
                    <a:pt x="202" y="462"/>
                  </a:lnTo>
                  <a:lnTo>
                    <a:pt x="200" y="484"/>
                  </a:lnTo>
                  <a:lnTo>
                    <a:pt x="202" y="512"/>
                  </a:lnTo>
                  <a:lnTo>
                    <a:pt x="208" y="524"/>
                  </a:lnTo>
                  <a:lnTo>
                    <a:pt x="228" y="540"/>
                  </a:lnTo>
                  <a:lnTo>
                    <a:pt x="236" y="556"/>
                  </a:lnTo>
                  <a:lnTo>
                    <a:pt x="244" y="572"/>
                  </a:lnTo>
                  <a:lnTo>
                    <a:pt x="250" y="584"/>
                  </a:lnTo>
                  <a:lnTo>
                    <a:pt x="244" y="594"/>
                  </a:lnTo>
                  <a:lnTo>
                    <a:pt x="234" y="602"/>
                  </a:lnTo>
                  <a:lnTo>
                    <a:pt x="226" y="600"/>
                  </a:lnTo>
                  <a:lnTo>
                    <a:pt x="218" y="592"/>
                  </a:lnTo>
                  <a:lnTo>
                    <a:pt x="208" y="594"/>
                  </a:lnTo>
                  <a:lnTo>
                    <a:pt x="204" y="602"/>
                  </a:lnTo>
                  <a:lnTo>
                    <a:pt x="188" y="602"/>
                  </a:lnTo>
                  <a:lnTo>
                    <a:pt x="164" y="600"/>
                  </a:lnTo>
                  <a:lnTo>
                    <a:pt x="158" y="606"/>
                  </a:lnTo>
                  <a:lnTo>
                    <a:pt x="174" y="612"/>
                  </a:lnTo>
                  <a:lnTo>
                    <a:pt x="196" y="606"/>
                  </a:lnTo>
                  <a:lnTo>
                    <a:pt x="202" y="616"/>
                  </a:lnTo>
                  <a:lnTo>
                    <a:pt x="218" y="618"/>
                  </a:lnTo>
                  <a:lnTo>
                    <a:pt x="230" y="624"/>
                  </a:lnTo>
                  <a:lnTo>
                    <a:pt x="226" y="628"/>
                  </a:lnTo>
                  <a:lnTo>
                    <a:pt x="210" y="626"/>
                  </a:lnTo>
                  <a:lnTo>
                    <a:pt x="208" y="632"/>
                  </a:lnTo>
                  <a:lnTo>
                    <a:pt x="210" y="640"/>
                  </a:lnTo>
                  <a:lnTo>
                    <a:pt x="202" y="650"/>
                  </a:lnTo>
                  <a:lnTo>
                    <a:pt x="188" y="660"/>
                  </a:lnTo>
                  <a:lnTo>
                    <a:pt x="182" y="664"/>
                  </a:lnTo>
                  <a:lnTo>
                    <a:pt x="178" y="666"/>
                  </a:lnTo>
                  <a:lnTo>
                    <a:pt x="180" y="680"/>
                  </a:lnTo>
                  <a:lnTo>
                    <a:pt x="174" y="688"/>
                  </a:lnTo>
                  <a:lnTo>
                    <a:pt x="166" y="704"/>
                  </a:lnTo>
                  <a:lnTo>
                    <a:pt x="170" y="720"/>
                  </a:lnTo>
                  <a:lnTo>
                    <a:pt x="164" y="744"/>
                  </a:lnTo>
                  <a:lnTo>
                    <a:pt x="158" y="754"/>
                  </a:lnTo>
                  <a:lnTo>
                    <a:pt x="158" y="770"/>
                  </a:lnTo>
                  <a:lnTo>
                    <a:pt x="150" y="782"/>
                  </a:lnTo>
                  <a:lnTo>
                    <a:pt x="140" y="800"/>
                  </a:lnTo>
                  <a:lnTo>
                    <a:pt x="136" y="814"/>
                  </a:lnTo>
                  <a:lnTo>
                    <a:pt x="116" y="810"/>
                  </a:lnTo>
                  <a:lnTo>
                    <a:pt x="98" y="810"/>
                  </a:lnTo>
                  <a:lnTo>
                    <a:pt x="94" y="818"/>
                  </a:lnTo>
                  <a:lnTo>
                    <a:pt x="84" y="822"/>
                  </a:lnTo>
                  <a:lnTo>
                    <a:pt x="78" y="824"/>
                  </a:lnTo>
                  <a:lnTo>
                    <a:pt x="80" y="834"/>
                  </a:lnTo>
                  <a:lnTo>
                    <a:pt x="78" y="848"/>
                  </a:lnTo>
                  <a:lnTo>
                    <a:pt x="64" y="856"/>
                  </a:lnTo>
                  <a:lnTo>
                    <a:pt x="56" y="848"/>
                  </a:lnTo>
                  <a:lnTo>
                    <a:pt x="46" y="856"/>
                  </a:lnTo>
                  <a:lnTo>
                    <a:pt x="32" y="856"/>
                  </a:lnTo>
                  <a:lnTo>
                    <a:pt x="26" y="848"/>
                  </a:lnTo>
                  <a:lnTo>
                    <a:pt x="32" y="842"/>
                  </a:lnTo>
                  <a:lnTo>
                    <a:pt x="34" y="826"/>
                  </a:lnTo>
                  <a:lnTo>
                    <a:pt x="24" y="806"/>
                  </a:lnTo>
                  <a:lnTo>
                    <a:pt x="18" y="794"/>
                  </a:lnTo>
                  <a:lnTo>
                    <a:pt x="22" y="788"/>
                  </a:lnTo>
                  <a:lnTo>
                    <a:pt x="26" y="788"/>
                  </a:lnTo>
                  <a:lnTo>
                    <a:pt x="30" y="784"/>
                  </a:lnTo>
                  <a:lnTo>
                    <a:pt x="32" y="778"/>
                  </a:lnTo>
                  <a:lnTo>
                    <a:pt x="34" y="774"/>
                  </a:lnTo>
                  <a:lnTo>
                    <a:pt x="32" y="768"/>
                  </a:lnTo>
                  <a:lnTo>
                    <a:pt x="26" y="758"/>
                  </a:lnTo>
                  <a:lnTo>
                    <a:pt x="16" y="742"/>
                  </a:lnTo>
                  <a:lnTo>
                    <a:pt x="18" y="724"/>
                  </a:lnTo>
                  <a:lnTo>
                    <a:pt x="10" y="712"/>
                  </a:lnTo>
                  <a:lnTo>
                    <a:pt x="2" y="704"/>
                  </a:lnTo>
                  <a:lnTo>
                    <a:pt x="8" y="690"/>
                  </a:lnTo>
                  <a:lnTo>
                    <a:pt x="14" y="664"/>
                  </a:lnTo>
                  <a:lnTo>
                    <a:pt x="2" y="650"/>
                  </a:lnTo>
                  <a:lnTo>
                    <a:pt x="0" y="636"/>
                  </a:lnTo>
                  <a:lnTo>
                    <a:pt x="0" y="628"/>
                  </a:lnTo>
                  <a:lnTo>
                    <a:pt x="4" y="612"/>
                  </a:lnTo>
                  <a:lnTo>
                    <a:pt x="14" y="616"/>
                  </a:lnTo>
                  <a:lnTo>
                    <a:pt x="22" y="594"/>
                  </a:lnTo>
                  <a:lnTo>
                    <a:pt x="22" y="570"/>
                  </a:lnTo>
                  <a:lnTo>
                    <a:pt x="24" y="562"/>
                  </a:lnTo>
                  <a:lnTo>
                    <a:pt x="34" y="554"/>
                  </a:lnTo>
                  <a:lnTo>
                    <a:pt x="50" y="544"/>
                  </a:lnTo>
                  <a:lnTo>
                    <a:pt x="50" y="530"/>
                  </a:lnTo>
                  <a:lnTo>
                    <a:pt x="48" y="490"/>
                  </a:lnTo>
                  <a:lnTo>
                    <a:pt x="42" y="484"/>
                  </a:lnTo>
                  <a:lnTo>
                    <a:pt x="42" y="474"/>
                  </a:lnTo>
                  <a:lnTo>
                    <a:pt x="56" y="468"/>
                  </a:lnTo>
                  <a:lnTo>
                    <a:pt x="62" y="462"/>
                  </a:lnTo>
                  <a:lnTo>
                    <a:pt x="54" y="448"/>
                  </a:lnTo>
                  <a:lnTo>
                    <a:pt x="42" y="432"/>
                  </a:lnTo>
                  <a:lnTo>
                    <a:pt x="46" y="412"/>
                  </a:lnTo>
                  <a:lnTo>
                    <a:pt x="48" y="400"/>
                  </a:lnTo>
                  <a:lnTo>
                    <a:pt x="60" y="376"/>
                  </a:lnTo>
                  <a:lnTo>
                    <a:pt x="60" y="364"/>
                  </a:lnTo>
                  <a:lnTo>
                    <a:pt x="60" y="344"/>
                  </a:lnTo>
                  <a:lnTo>
                    <a:pt x="68" y="324"/>
                  </a:lnTo>
                  <a:lnTo>
                    <a:pt x="80" y="314"/>
                  </a:lnTo>
                  <a:lnTo>
                    <a:pt x="94" y="306"/>
                  </a:lnTo>
                  <a:lnTo>
                    <a:pt x="108" y="308"/>
                  </a:lnTo>
                  <a:lnTo>
                    <a:pt x="122" y="314"/>
                  </a:lnTo>
                  <a:lnTo>
                    <a:pt x="128" y="294"/>
                  </a:lnTo>
                  <a:lnTo>
                    <a:pt x="122" y="280"/>
                  </a:lnTo>
                  <a:lnTo>
                    <a:pt x="116" y="268"/>
                  </a:lnTo>
                  <a:lnTo>
                    <a:pt x="114" y="260"/>
                  </a:lnTo>
                  <a:lnTo>
                    <a:pt x="116" y="252"/>
                  </a:lnTo>
                  <a:lnTo>
                    <a:pt x="126" y="250"/>
                  </a:lnTo>
                  <a:lnTo>
                    <a:pt x="128" y="232"/>
                  </a:lnTo>
                  <a:lnTo>
                    <a:pt x="134" y="214"/>
                  </a:lnTo>
                  <a:lnTo>
                    <a:pt x="136" y="202"/>
                  </a:lnTo>
                  <a:lnTo>
                    <a:pt x="136" y="188"/>
                  </a:lnTo>
                  <a:lnTo>
                    <a:pt x="144" y="176"/>
                  </a:lnTo>
                  <a:lnTo>
                    <a:pt x="162" y="164"/>
                  </a:lnTo>
                  <a:lnTo>
                    <a:pt x="172" y="162"/>
                  </a:lnTo>
                  <a:lnTo>
                    <a:pt x="172" y="148"/>
                  </a:lnTo>
                  <a:lnTo>
                    <a:pt x="178" y="140"/>
                  </a:lnTo>
                  <a:lnTo>
                    <a:pt x="188" y="126"/>
                  </a:lnTo>
                  <a:lnTo>
                    <a:pt x="200" y="120"/>
                  </a:lnTo>
                  <a:lnTo>
                    <a:pt x="194" y="96"/>
                  </a:lnTo>
                  <a:lnTo>
                    <a:pt x="214" y="74"/>
                  </a:lnTo>
                  <a:lnTo>
                    <a:pt x="218" y="64"/>
                  </a:lnTo>
                  <a:lnTo>
                    <a:pt x="234" y="62"/>
                  </a:lnTo>
                  <a:lnTo>
                    <a:pt x="242" y="50"/>
                  </a:lnTo>
                  <a:lnTo>
                    <a:pt x="242" y="42"/>
                  </a:lnTo>
                  <a:lnTo>
                    <a:pt x="252" y="32"/>
                  </a:lnTo>
                  <a:lnTo>
                    <a:pt x="270" y="30"/>
                  </a:lnTo>
                  <a:lnTo>
                    <a:pt x="290" y="30"/>
                  </a:lnTo>
                  <a:lnTo>
                    <a:pt x="308" y="14"/>
                  </a:lnTo>
                  <a:lnTo>
                    <a:pt x="304" y="0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34" name="Freeform 128"/>
            <p:cNvSpPr>
              <a:spLocks/>
            </p:cNvSpPr>
            <p:nvPr/>
          </p:nvSpPr>
          <p:spPr bwMode="auto">
            <a:xfrm>
              <a:off x="1937643" y="1563911"/>
              <a:ext cx="280779" cy="621980"/>
            </a:xfrm>
            <a:custGeom>
              <a:avLst/>
              <a:gdLst>
                <a:gd name="T0" fmla="*/ 320 w 408"/>
                <a:gd name="T1" fmla="*/ 14 h 856"/>
                <a:gd name="T2" fmla="*/ 376 w 408"/>
                <a:gd name="T3" fmla="*/ 52 h 856"/>
                <a:gd name="T4" fmla="*/ 380 w 408"/>
                <a:gd name="T5" fmla="*/ 84 h 856"/>
                <a:gd name="T6" fmla="*/ 394 w 408"/>
                <a:gd name="T7" fmla="*/ 114 h 856"/>
                <a:gd name="T8" fmla="*/ 392 w 408"/>
                <a:gd name="T9" fmla="*/ 150 h 856"/>
                <a:gd name="T10" fmla="*/ 402 w 408"/>
                <a:gd name="T11" fmla="*/ 178 h 856"/>
                <a:gd name="T12" fmla="*/ 400 w 408"/>
                <a:gd name="T13" fmla="*/ 200 h 856"/>
                <a:gd name="T14" fmla="*/ 350 w 408"/>
                <a:gd name="T15" fmla="*/ 204 h 856"/>
                <a:gd name="T16" fmla="*/ 330 w 408"/>
                <a:gd name="T17" fmla="*/ 236 h 856"/>
                <a:gd name="T18" fmla="*/ 324 w 408"/>
                <a:gd name="T19" fmla="*/ 260 h 856"/>
                <a:gd name="T20" fmla="*/ 326 w 408"/>
                <a:gd name="T21" fmla="*/ 294 h 856"/>
                <a:gd name="T22" fmla="*/ 310 w 408"/>
                <a:gd name="T23" fmla="*/ 328 h 856"/>
                <a:gd name="T24" fmla="*/ 264 w 408"/>
                <a:gd name="T25" fmla="*/ 354 h 856"/>
                <a:gd name="T26" fmla="*/ 246 w 408"/>
                <a:gd name="T27" fmla="*/ 370 h 856"/>
                <a:gd name="T28" fmla="*/ 226 w 408"/>
                <a:gd name="T29" fmla="*/ 410 h 856"/>
                <a:gd name="T30" fmla="*/ 218 w 408"/>
                <a:gd name="T31" fmla="*/ 442 h 856"/>
                <a:gd name="T32" fmla="*/ 200 w 408"/>
                <a:gd name="T33" fmla="*/ 484 h 856"/>
                <a:gd name="T34" fmla="*/ 228 w 408"/>
                <a:gd name="T35" fmla="*/ 540 h 856"/>
                <a:gd name="T36" fmla="*/ 250 w 408"/>
                <a:gd name="T37" fmla="*/ 584 h 856"/>
                <a:gd name="T38" fmla="*/ 226 w 408"/>
                <a:gd name="T39" fmla="*/ 600 h 856"/>
                <a:gd name="T40" fmla="*/ 204 w 408"/>
                <a:gd name="T41" fmla="*/ 602 h 856"/>
                <a:gd name="T42" fmla="*/ 158 w 408"/>
                <a:gd name="T43" fmla="*/ 606 h 856"/>
                <a:gd name="T44" fmla="*/ 202 w 408"/>
                <a:gd name="T45" fmla="*/ 616 h 856"/>
                <a:gd name="T46" fmla="*/ 226 w 408"/>
                <a:gd name="T47" fmla="*/ 628 h 856"/>
                <a:gd name="T48" fmla="*/ 210 w 408"/>
                <a:gd name="T49" fmla="*/ 640 h 856"/>
                <a:gd name="T50" fmla="*/ 182 w 408"/>
                <a:gd name="T51" fmla="*/ 664 h 856"/>
                <a:gd name="T52" fmla="*/ 174 w 408"/>
                <a:gd name="T53" fmla="*/ 688 h 856"/>
                <a:gd name="T54" fmla="*/ 164 w 408"/>
                <a:gd name="T55" fmla="*/ 744 h 856"/>
                <a:gd name="T56" fmla="*/ 150 w 408"/>
                <a:gd name="T57" fmla="*/ 782 h 856"/>
                <a:gd name="T58" fmla="*/ 116 w 408"/>
                <a:gd name="T59" fmla="*/ 810 h 856"/>
                <a:gd name="T60" fmla="*/ 84 w 408"/>
                <a:gd name="T61" fmla="*/ 822 h 856"/>
                <a:gd name="T62" fmla="*/ 78 w 408"/>
                <a:gd name="T63" fmla="*/ 848 h 856"/>
                <a:gd name="T64" fmla="*/ 46 w 408"/>
                <a:gd name="T65" fmla="*/ 856 h 856"/>
                <a:gd name="T66" fmla="*/ 32 w 408"/>
                <a:gd name="T67" fmla="*/ 842 h 856"/>
                <a:gd name="T68" fmla="*/ 18 w 408"/>
                <a:gd name="T69" fmla="*/ 794 h 856"/>
                <a:gd name="T70" fmla="*/ 30 w 408"/>
                <a:gd name="T71" fmla="*/ 784 h 856"/>
                <a:gd name="T72" fmla="*/ 32 w 408"/>
                <a:gd name="T73" fmla="*/ 768 h 856"/>
                <a:gd name="T74" fmla="*/ 18 w 408"/>
                <a:gd name="T75" fmla="*/ 724 h 856"/>
                <a:gd name="T76" fmla="*/ 8 w 408"/>
                <a:gd name="T77" fmla="*/ 690 h 856"/>
                <a:gd name="T78" fmla="*/ 0 w 408"/>
                <a:gd name="T79" fmla="*/ 636 h 856"/>
                <a:gd name="T80" fmla="*/ 14 w 408"/>
                <a:gd name="T81" fmla="*/ 616 h 856"/>
                <a:gd name="T82" fmla="*/ 24 w 408"/>
                <a:gd name="T83" fmla="*/ 562 h 856"/>
                <a:gd name="T84" fmla="*/ 50 w 408"/>
                <a:gd name="T85" fmla="*/ 530 h 856"/>
                <a:gd name="T86" fmla="*/ 42 w 408"/>
                <a:gd name="T87" fmla="*/ 474 h 856"/>
                <a:gd name="T88" fmla="*/ 54 w 408"/>
                <a:gd name="T89" fmla="*/ 448 h 856"/>
                <a:gd name="T90" fmla="*/ 48 w 408"/>
                <a:gd name="T91" fmla="*/ 400 h 856"/>
                <a:gd name="T92" fmla="*/ 60 w 408"/>
                <a:gd name="T93" fmla="*/ 344 h 856"/>
                <a:gd name="T94" fmla="*/ 94 w 408"/>
                <a:gd name="T95" fmla="*/ 306 h 856"/>
                <a:gd name="T96" fmla="*/ 128 w 408"/>
                <a:gd name="T97" fmla="*/ 294 h 856"/>
                <a:gd name="T98" fmla="*/ 114 w 408"/>
                <a:gd name="T99" fmla="*/ 260 h 856"/>
                <a:gd name="T100" fmla="*/ 128 w 408"/>
                <a:gd name="T101" fmla="*/ 232 h 856"/>
                <a:gd name="T102" fmla="*/ 136 w 408"/>
                <a:gd name="T103" fmla="*/ 188 h 856"/>
                <a:gd name="T104" fmla="*/ 172 w 408"/>
                <a:gd name="T105" fmla="*/ 162 h 856"/>
                <a:gd name="T106" fmla="*/ 188 w 408"/>
                <a:gd name="T107" fmla="*/ 126 h 856"/>
                <a:gd name="T108" fmla="*/ 214 w 408"/>
                <a:gd name="T109" fmla="*/ 74 h 856"/>
                <a:gd name="T110" fmla="*/ 242 w 408"/>
                <a:gd name="T111" fmla="*/ 50 h 856"/>
                <a:gd name="T112" fmla="*/ 270 w 408"/>
                <a:gd name="T113" fmla="*/ 30 h 856"/>
                <a:gd name="T114" fmla="*/ 304 w 408"/>
                <a:gd name="T115" fmla="*/ 0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8" h="856">
                  <a:moveTo>
                    <a:pt x="308" y="0"/>
                  </a:moveTo>
                  <a:lnTo>
                    <a:pt x="312" y="2"/>
                  </a:lnTo>
                  <a:lnTo>
                    <a:pt x="320" y="14"/>
                  </a:lnTo>
                  <a:lnTo>
                    <a:pt x="356" y="50"/>
                  </a:lnTo>
                  <a:lnTo>
                    <a:pt x="362" y="42"/>
                  </a:lnTo>
                  <a:lnTo>
                    <a:pt x="376" y="52"/>
                  </a:lnTo>
                  <a:lnTo>
                    <a:pt x="380" y="62"/>
                  </a:lnTo>
                  <a:lnTo>
                    <a:pt x="380" y="70"/>
                  </a:lnTo>
                  <a:lnTo>
                    <a:pt x="380" y="84"/>
                  </a:lnTo>
                  <a:lnTo>
                    <a:pt x="376" y="92"/>
                  </a:lnTo>
                  <a:lnTo>
                    <a:pt x="386" y="104"/>
                  </a:lnTo>
                  <a:lnTo>
                    <a:pt x="394" y="114"/>
                  </a:lnTo>
                  <a:lnTo>
                    <a:pt x="394" y="122"/>
                  </a:lnTo>
                  <a:lnTo>
                    <a:pt x="394" y="134"/>
                  </a:lnTo>
                  <a:lnTo>
                    <a:pt x="392" y="150"/>
                  </a:lnTo>
                  <a:lnTo>
                    <a:pt x="386" y="156"/>
                  </a:lnTo>
                  <a:lnTo>
                    <a:pt x="394" y="164"/>
                  </a:lnTo>
                  <a:lnTo>
                    <a:pt x="402" y="178"/>
                  </a:lnTo>
                  <a:lnTo>
                    <a:pt x="408" y="192"/>
                  </a:lnTo>
                  <a:lnTo>
                    <a:pt x="408" y="196"/>
                  </a:lnTo>
                  <a:lnTo>
                    <a:pt x="400" y="200"/>
                  </a:lnTo>
                  <a:lnTo>
                    <a:pt x="364" y="200"/>
                  </a:lnTo>
                  <a:lnTo>
                    <a:pt x="356" y="200"/>
                  </a:lnTo>
                  <a:lnTo>
                    <a:pt x="350" y="204"/>
                  </a:lnTo>
                  <a:lnTo>
                    <a:pt x="350" y="214"/>
                  </a:lnTo>
                  <a:lnTo>
                    <a:pt x="346" y="222"/>
                  </a:lnTo>
                  <a:lnTo>
                    <a:pt x="330" y="236"/>
                  </a:lnTo>
                  <a:lnTo>
                    <a:pt x="332" y="248"/>
                  </a:lnTo>
                  <a:lnTo>
                    <a:pt x="330" y="256"/>
                  </a:lnTo>
                  <a:lnTo>
                    <a:pt x="324" y="260"/>
                  </a:lnTo>
                  <a:lnTo>
                    <a:pt x="330" y="276"/>
                  </a:lnTo>
                  <a:lnTo>
                    <a:pt x="332" y="288"/>
                  </a:lnTo>
                  <a:lnTo>
                    <a:pt x="326" y="294"/>
                  </a:lnTo>
                  <a:lnTo>
                    <a:pt x="316" y="304"/>
                  </a:lnTo>
                  <a:lnTo>
                    <a:pt x="312" y="314"/>
                  </a:lnTo>
                  <a:lnTo>
                    <a:pt x="310" y="328"/>
                  </a:lnTo>
                  <a:lnTo>
                    <a:pt x="290" y="336"/>
                  </a:lnTo>
                  <a:lnTo>
                    <a:pt x="280" y="344"/>
                  </a:lnTo>
                  <a:lnTo>
                    <a:pt x="264" y="354"/>
                  </a:lnTo>
                  <a:lnTo>
                    <a:pt x="266" y="362"/>
                  </a:lnTo>
                  <a:lnTo>
                    <a:pt x="252" y="364"/>
                  </a:lnTo>
                  <a:lnTo>
                    <a:pt x="246" y="370"/>
                  </a:lnTo>
                  <a:lnTo>
                    <a:pt x="234" y="388"/>
                  </a:lnTo>
                  <a:lnTo>
                    <a:pt x="222" y="396"/>
                  </a:lnTo>
                  <a:lnTo>
                    <a:pt x="226" y="410"/>
                  </a:lnTo>
                  <a:lnTo>
                    <a:pt x="218" y="414"/>
                  </a:lnTo>
                  <a:lnTo>
                    <a:pt x="212" y="420"/>
                  </a:lnTo>
                  <a:lnTo>
                    <a:pt x="218" y="442"/>
                  </a:lnTo>
                  <a:lnTo>
                    <a:pt x="216" y="456"/>
                  </a:lnTo>
                  <a:lnTo>
                    <a:pt x="202" y="462"/>
                  </a:lnTo>
                  <a:lnTo>
                    <a:pt x="200" y="484"/>
                  </a:lnTo>
                  <a:lnTo>
                    <a:pt x="202" y="512"/>
                  </a:lnTo>
                  <a:lnTo>
                    <a:pt x="208" y="524"/>
                  </a:lnTo>
                  <a:lnTo>
                    <a:pt x="228" y="540"/>
                  </a:lnTo>
                  <a:lnTo>
                    <a:pt x="236" y="556"/>
                  </a:lnTo>
                  <a:lnTo>
                    <a:pt x="244" y="572"/>
                  </a:lnTo>
                  <a:lnTo>
                    <a:pt x="250" y="584"/>
                  </a:lnTo>
                  <a:lnTo>
                    <a:pt x="244" y="594"/>
                  </a:lnTo>
                  <a:lnTo>
                    <a:pt x="234" y="602"/>
                  </a:lnTo>
                  <a:lnTo>
                    <a:pt x="226" y="600"/>
                  </a:lnTo>
                  <a:lnTo>
                    <a:pt x="218" y="592"/>
                  </a:lnTo>
                  <a:lnTo>
                    <a:pt x="208" y="594"/>
                  </a:lnTo>
                  <a:lnTo>
                    <a:pt x="204" y="602"/>
                  </a:lnTo>
                  <a:lnTo>
                    <a:pt x="188" y="602"/>
                  </a:lnTo>
                  <a:lnTo>
                    <a:pt x="164" y="600"/>
                  </a:lnTo>
                  <a:lnTo>
                    <a:pt x="158" y="606"/>
                  </a:lnTo>
                  <a:lnTo>
                    <a:pt x="174" y="612"/>
                  </a:lnTo>
                  <a:lnTo>
                    <a:pt x="196" y="606"/>
                  </a:lnTo>
                  <a:lnTo>
                    <a:pt x="202" y="616"/>
                  </a:lnTo>
                  <a:lnTo>
                    <a:pt x="218" y="618"/>
                  </a:lnTo>
                  <a:lnTo>
                    <a:pt x="230" y="624"/>
                  </a:lnTo>
                  <a:lnTo>
                    <a:pt x="226" y="628"/>
                  </a:lnTo>
                  <a:lnTo>
                    <a:pt x="210" y="626"/>
                  </a:lnTo>
                  <a:lnTo>
                    <a:pt x="208" y="632"/>
                  </a:lnTo>
                  <a:lnTo>
                    <a:pt x="210" y="640"/>
                  </a:lnTo>
                  <a:lnTo>
                    <a:pt x="202" y="650"/>
                  </a:lnTo>
                  <a:lnTo>
                    <a:pt x="188" y="660"/>
                  </a:lnTo>
                  <a:lnTo>
                    <a:pt x="182" y="664"/>
                  </a:lnTo>
                  <a:lnTo>
                    <a:pt x="178" y="666"/>
                  </a:lnTo>
                  <a:lnTo>
                    <a:pt x="180" y="680"/>
                  </a:lnTo>
                  <a:lnTo>
                    <a:pt x="174" y="688"/>
                  </a:lnTo>
                  <a:lnTo>
                    <a:pt x="166" y="704"/>
                  </a:lnTo>
                  <a:lnTo>
                    <a:pt x="170" y="720"/>
                  </a:lnTo>
                  <a:lnTo>
                    <a:pt x="164" y="744"/>
                  </a:lnTo>
                  <a:lnTo>
                    <a:pt x="158" y="754"/>
                  </a:lnTo>
                  <a:lnTo>
                    <a:pt x="158" y="770"/>
                  </a:lnTo>
                  <a:lnTo>
                    <a:pt x="150" y="782"/>
                  </a:lnTo>
                  <a:lnTo>
                    <a:pt x="140" y="800"/>
                  </a:lnTo>
                  <a:lnTo>
                    <a:pt x="136" y="814"/>
                  </a:lnTo>
                  <a:lnTo>
                    <a:pt x="116" y="810"/>
                  </a:lnTo>
                  <a:lnTo>
                    <a:pt x="98" y="810"/>
                  </a:lnTo>
                  <a:lnTo>
                    <a:pt x="94" y="818"/>
                  </a:lnTo>
                  <a:lnTo>
                    <a:pt x="84" y="822"/>
                  </a:lnTo>
                  <a:lnTo>
                    <a:pt x="78" y="824"/>
                  </a:lnTo>
                  <a:lnTo>
                    <a:pt x="80" y="834"/>
                  </a:lnTo>
                  <a:lnTo>
                    <a:pt x="78" y="848"/>
                  </a:lnTo>
                  <a:lnTo>
                    <a:pt x="64" y="856"/>
                  </a:lnTo>
                  <a:lnTo>
                    <a:pt x="56" y="848"/>
                  </a:lnTo>
                  <a:lnTo>
                    <a:pt x="46" y="856"/>
                  </a:lnTo>
                  <a:lnTo>
                    <a:pt x="32" y="856"/>
                  </a:lnTo>
                  <a:lnTo>
                    <a:pt x="26" y="848"/>
                  </a:lnTo>
                  <a:lnTo>
                    <a:pt x="32" y="842"/>
                  </a:lnTo>
                  <a:lnTo>
                    <a:pt x="34" y="826"/>
                  </a:lnTo>
                  <a:lnTo>
                    <a:pt x="24" y="806"/>
                  </a:lnTo>
                  <a:lnTo>
                    <a:pt x="18" y="794"/>
                  </a:lnTo>
                  <a:lnTo>
                    <a:pt x="22" y="788"/>
                  </a:lnTo>
                  <a:lnTo>
                    <a:pt x="26" y="788"/>
                  </a:lnTo>
                  <a:lnTo>
                    <a:pt x="30" y="784"/>
                  </a:lnTo>
                  <a:lnTo>
                    <a:pt x="32" y="778"/>
                  </a:lnTo>
                  <a:lnTo>
                    <a:pt x="34" y="774"/>
                  </a:lnTo>
                  <a:lnTo>
                    <a:pt x="32" y="768"/>
                  </a:lnTo>
                  <a:lnTo>
                    <a:pt x="26" y="758"/>
                  </a:lnTo>
                  <a:lnTo>
                    <a:pt x="16" y="742"/>
                  </a:lnTo>
                  <a:lnTo>
                    <a:pt x="18" y="724"/>
                  </a:lnTo>
                  <a:lnTo>
                    <a:pt x="10" y="712"/>
                  </a:lnTo>
                  <a:lnTo>
                    <a:pt x="2" y="704"/>
                  </a:lnTo>
                  <a:lnTo>
                    <a:pt x="8" y="690"/>
                  </a:lnTo>
                  <a:lnTo>
                    <a:pt x="14" y="664"/>
                  </a:lnTo>
                  <a:lnTo>
                    <a:pt x="2" y="650"/>
                  </a:lnTo>
                  <a:lnTo>
                    <a:pt x="0" y="636"/>
                  </a:lnTo>
                  <a:lnTo>
                    <a:pt x="0" y="628"/>
                  </a:lnTo>
                  <a:lnTo>
                    <a:pt x="4" y="612"/>
                  </a:lnTo>
                  <a:lnTo>
                    <a:pt x="14" y="616"/>
                  </a:lnTo>
                  <a:lnTo>
                    <a:pt x="22" y="594"/>
                  </a:lnTo>
                  <a:lnTo>
                    <a:pt x="22" y="570"/>
                  </a:lnTo>
                  <a:lnTo>
                    <a:pt x="24" y="562"/>
                  </a:lnTo>
                  <a:lnTo>
                    <a:pt x="34" y="554"/>
                  </a:lnTo>
                  <a:lnTo>
                    <a:pt x="50" y="544"/>
                  </a:lnTo>
                  <a:lnTo>
                    <a:pt x="50" y="530"/>
                  </a:lnTo>
                  <a:lnTo>
                    <a:pt x="48" y="490"/>
                  </a:lnTo>
                  <a:lnTo>
                    <a:pt x="42" y="484"/>
                  </a:lnTo>
                  <a:lnTo>
                    <a:pt x="42" y="474"/>
                  </a:lnTo>
                  <a:lnTo>
                    <a:pt x="56" y="468"/>
                  </a:lnTo>
                  <a:lnTo>
                    <a:pt x="62" y="462"/>
                  </a:lnTo>
                  <a:lnTo>
                    <a:pt x="54" y="448"/>
                  </a:lnTo>
                  <a:lnTo>
                    <a:pt x="42" y="432"/>
                  </a:lnTo>
                  <a:lnTo>
                    <a:pt x="46" y="412"/>
                  </a:lnTo>
                  <a:lnTo>
                    <a:pt x="48" y="400"/>
                  </a:lnTo>
                  <a:lnTo>
                    <a:pt x="60" y="376"/>
                  </a:lnTo>
                  <a:lnTo>
                    <a:pt x="60" y="364"/>
                  </a:lnTo>
                  <a:lnTo>
                    <a:pt x="60" y="344"/>
                  </a:lnTo>
                  <a:lnTo>
                    <a:pt x="68" y="324"/>
                  </a:lnTo>
                  <a:lnTo>
                    <a:pt x="80" y="314"/>
                  </a:lnTo>
                  <a:lnTo>
                    <a:pt x="94" y="306"/>
                  </a:lnTo>
                  <a:lnTo>
                    <a:pt x="108" y="308"/>
                  </a:lnTo>
                  <a:lnTo>
                    <a:pt x="122" y="314"/>
                  </a:lnTo>
                  <a:lnTo>
                    <a:pt x="128" y="294"/>
                  </a:lnTo>
                  <a:lnTo>
                    <a:pt x="122" y="280"/>
                  </a:lnTo>
                  <a:lnTo>
                    <a:pt x="116" y="268"/>
                  </a:lnTo>
                  <a:lnTo>
                    <a:pt x="114" y="260"/>
                  </a:lnTo>
                  <a:lnTo>
                    <a:pt x="116" y="252"/>
                  </a:lnTo>
                  <a:lnTo>
                    <a:pt x="126" y="250"/>
                  </a:lnTo>
                  <a:lnTo>
                    <a:pt x="128" y="232"/>
                  </a:lnTo>
                  <a:lnTo>
                    <a:pt x="134" y="214"/>
                  </a:lnTo>
                  <a:lnTo>
                    <a:pt x="136" y="202"/>
                  </a:lnTo>
                  <a:lnTo>
                    <a:pt x="136" y="188"/>
                  </a:lnTo>
                  <a:lnTo>
                    <a:pt x="144" y="176"/>
                  </a:lnTo>
                  <a:lnTo>
                    <a:pt x="162" y="164"/>
                  </a:lnTo>
                  <a:lnTo>
                    <a:pt x="172" y="162"/>
                  </a:lnTo>
                  <a:lnTo>
                    <a:pt x="172" y="148"/>
                  </a:lnTo>
                  <a:lnTo>
                    <a:pt x="178" y="140"/>
                  </a:lnTo>
                  <a:lnTo>
                    <a:pt x="188" y="126"/>
                  </a:lnTo>
                  <a:lnTo>
                    <a:pt x="200" y="120"/>
                  </a:lnTo>
                  <a:lnTo>
                    <a:pt x="194" y="96"/>
                  </a:lnTo>
                  <a:lnTo>
                    <a:pt x="214" y="74"/>
                  </a:lnTo>
                  <a:lnTo>
                    <a:pt x="218" y="64"/>
                  </a:lnTo>
                  <a:lnTo>
                    <a:pt x="234" y="62"/>
                  </a:lnTo>
                  <a:lnTo>
                    <a:pt x="242" y="50"/>
                  </a:lnTo>
                  <a:lnTo>
                    <a:pt x="242" y="42"/>
                  </a:lnTo>
                  <a:lnTo>
                    <a:pt x="252" y="32"/>
                  </a:lnTo>
                  <a:lnTo>
                    <a:pt x="270" y="30"/>
                  </a:lnTo>
                  <a:lnTo>
                    <a:pt x="290" y="30"/>
                  </a:lnTo>
                  <a:lnTo>
                    <a:pt x="308" y="14"/>
                  </a:lnTo>
                  <a:lnTo>
                    <a:pt x="304" y="0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35" name="Freeform 129"/>
            <p:cNvSpPr>
              <a:spLocks/>
            </p:cNvSpPr>
            <p:nvPr/>
          </p:nvSpPr>
          <p:spPr bwMode="auto">
            <a:xfrm>
              <a:off x="1937643" y="1563911"/>
              <a:ext cx="280779" cy="621980"/>
            </a:xfrm>
            <a:custGeom>
              <a:avLst/>
              <a:gdLst>
                <a:gd name="T0" fmla="*/ 320 w 408"/>
                <a:gd name="T1" fmla="*/ 14 h 856"/>
                <a:gd name="T2" fmla="*/ 376 w 408"/>
                <a:gd name="T3" fmla="*/ 52 h 856"/>
                <a:gd name="T4" fmla="*/ 380 w 408"/>
                <a:gd name="T5" fmla="*/ 84 h 856"/>
                <a:gd name="T6" fmla="*/ 394 w 408"/>
                <a:gd name="T7" fmla="*/ 114 h 856"/>
                <a:gd name="T8" fmla="*/ 392 w 408"/>
                <a:gd name="T9" fmla="*/ 150 h 856"/>
                <a:gd name="T10" fmla="*/ 402 w 408"/>
                <a:gd name="T11" fmla="*/ 178 h 856"/>
                <a:gd name="T12" fmla="*/ 400 w 408"/>
                <a:gd name="T13" fmla="*/ 200 h 856"/>
                <a:gd name="T14" fmla="*/ 350 w 408"/>
                <a:gd name="T15" fmla="*/ 204 h 856"/>
                <a:gd name="T16" fmla="*/ 330 w 408"/>
                <a:gd name="T17" fmla="*/ 236 h 856"/>
                <a:gd name="T18" fmla="*/ 324 w 408"/>
                <a:gd name="T19" fmla="*/ 260 h 856"/>
                <a:gd name="T20" fmla="*/ 326 w 408"/>
                <a:gd name="T21" fmla="*/ 294 h 856"/>
                <a:gd name="T22" fmla="*/ 310 w 408"/>
                <a:gd name="T23" fmla="*/ 328 h 856"/>
                <a:gd name="T24" fmla="*/ 264 w 408"/>
                <a:gd name="T25" fmla="*/ 354 h 856"/>
                <a:gd name="T26" fmla="*/ 246 w 408"/>
                <a:gd name="T27" fmla="*/ 370 h 856"/>
                <a:gd name="T28" fmla="*/ 226 w 408"/>
                <a:gd name="T29" fmla="*/ 410 h 856"/>
                <a:gd name="T30" fmla="*/ 218 w 408"/>
                <a:gd name="T31" fmla="*/ 442 h 856"/>
                <a:gd name="T32" fmla="*/ 200 w 408"/>
                <a:gd name="T33" fmla="*/ 484 h 856"/>
                <a:gd name="T34" fmla="*/ 228 w 408"/>
                <a:gd name="T35" fmla="*/ 540 h 856"/>
                <a:gd name="T36" fmla="*/ 250 w 408"/>
                <a:gd name="T37" fmla="*/ 584 h 856"/>
                <a:gd name="T38" fmla="*/ 226 w 408"/>
                <a:gd name="T39" fmla="*/ 600 h 856"/>
                <a:gd name="T40" fmla="*/ 204 w 408"/>
                <a:gd name="T41" fmla="*/ 602 h 856"/>
                <a:gd name="T42" fmla="*/ 158 w 408"/>
                <a:gd name="T43" fmla="*/ 606 h 856"/>
                <a:gd name="T44" fmla="*/ 202 w 408"/>
                <a:gd name="T45" fmla="*/ 616 h 856"/>
                <a:gd name="T46" fmla="*/ 226 w 408"/>
                <a:gd name="T47" fmla="*/ 628 h 856"/>
                <a:gd name="T48" fmla="*/ 210 w 408"/>
                <a:gd name="T49" fmla="*/ 640 h 856"/>
                <a:gd name="T50" fmla="*/ 182 w 408"/>
                <a:gd name="T51" fmla="*/ 664 h 856"/>
                <a:gd name="T52" fmla="*/ 174 w 408"/>
                <a:gd name="T53" fmla="*/ 688 h 856"/>
                <a:gd name="T54" fmla="*/ 164 w 408"/>
                <a:gd name="T55" fmla="*/ 744 h 856"/>
                <a:gd name="T56" fmla="*/ 150 w 408"/>
                <a:gd name="T57" fmla="*/ 782 h 856"/>
                <a:gd name="T58" fmla="*/ 116 w 408"/>
                <a:gd name="T59" fmla="*/ 810 h 856"/>
                <a:gd name="T60" fmla="*/ 84 w 408"/>
                <a:gd name="T61" fmla="*/ 822 h 856"/>
                <a:gd name="T62" fmla="*/ 78 w 408"/>
                <a:gd name="T63" fmla="*/ 848 h 856"/>
                <a:gd name="T64" fmla="*/ 46 w 408"/>
                <a:gd name="T65" fmla="*/ 856 h 856"/>
                <a:gd name="T66" fmla="*/ 32 w 408"/>
                <a:gd name="T67" fmla="*/ 842 h 856"/>
                <a:gd name="T68" fmla="*/ 18 w 408"/>
                <a:gd name="T69" fmla="*/ 794 h 856"/>
                <a:gd name="T70" fmla="*/ 30 w 408"/>
                <a:gd name="T71" fmla="*/ 784 h 856"/>
                <a:gd name="T72" fmla="*/ 32 w 408"/>
                <a:gd name="T73" fmla="*/ 768 h 856"/>
                <a:gd name="T74" fmla="*/ 18 w 408"/>
                <a:gd name="T75" fmla="*/ 724 h 856"/>
                <a:gd name="T76" fmla="*/ 8 w 408"/>
                <a:gd name="T77" fmla="*/ 690 h 856"/>
                <a:gd name="T78" fmla="*/ 0 w 408"/>
                <a:gd name="T79" fmla="*/ 636 h 856"/>
                <a:gd name="T80" fmla="*/ 14 w 408"/>
                <a:gd name="T81" fmla="*/ 616 h 856"/>
                <a:gd name="T82" fmla="*/ 24 w 408"/>
                <a:gd name="T83" fmla="*/ 562 h 856"/>
                <a:gd name="T84" fmla="*/ 50 w 408"/>
                <a:gd name="T85" fmla="*/ 530 h 856"/>
                <a:gd name="T86" fmla="*/ 42 w 408"/>
                <a:gd name="T87" fmla="*/ 474 h 856"/>
                <a:gd name="T88" fmla="*/ 54 w 408"/>
                <a:gd name="T89" fmla="*/ 448 h 856"/>
                <a:gd name="T90" fmla="*/ 48 w 408"/>
                <a:gd name="T91" fmla="*/ 400 h 856"/>
                <a:gd name="T92" fmla="*/ 60 w 408"/>
                <a:gd name="T93" fmla="*/ 344 h 856"/>
                <a:gd name="T94" fmla="*/ 94 w 408"/>
                <a:gd name="T95" fmla="*/ 306 h 856"/>
                <a:gd name="T96" fmla="*/ 128 w 408"/>
                <a:gd name="T97" fmla="*/ 294 h 856"/>
                <a:gd name="T98" fmla="*/ 114 w 408"/>
                <a:gd name="T99" fmla="*/ 260 h 856"/>
                <a:gd name="T100" fmla="*/ 128 w 408"/>
                <a:gd name="T101" fmla="*/ 232 h 856"/>
                <a:gd name="T102" fmla="*/ 136 w 408"/>
                <a:gd name="T103" fmla="*/ 188 h 856"/>
                <a:gd name="T104" fmla="*/ 172 w 408"/>
                <a:gd name="T105" fmla="*/ 162 h 856"/>
                <a:gd name="T106" fmla="*/ 188 w 408"/>
                <a:gd name="T107" fmla="*/ 126 h 856"/>
                <a:gd name="T108" fmla="*/ 214 w 408"/>
                <a:gd name="T109" fmla="*/ 74 h 856"/>
                <a:gd name="T110" fmla="*/ 242 w 408"/>
                <a:gd name="T111" fmla="*/ 50 h 856"/>
                <a:gd name="T112" fmla="*/ 270 w 408"/>
                <a:gd name="T113" fmla="*/ 30 h 856"/>
                <a:gd name="T114" fmla="*/ 304 w 408"/>
                <a:gd name="T115" fmla="*/ 0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8" h="856">
                  <a:moveTo>
                    <a:pt x="308" y="0"/>
                  </a:moveTo>
                  <a:lnTo>
                    <a:pt x="312" y="2"/>
                  </a:lnTo>
                  <a:lnTo>
                    <a:pt x="320" y="14"/>
                  </a:lnTo>
                  <a:lnTo>
                    <a:pt x="356" y="50"/>
                  </a:lnTo>
                  <a:lnTo>
                    <a:pt x="362" y="42"/>
                  </a:lnTo>
                  <a:lnTo>
                    <a:pt x="376" y="52"/>
                  </a:lnTo>
                  <a:lnTo>
                    <a:pt x="380" y="62"/>
                  </a:lnTo>
                  <a:lnTo>
                    <a:pt x="380" y="70"/>
                  </a:lnTo>
                  <a:lnTo>
                    <a:pt x="380" y="84"/>
                  </a:lnTo>
                  <a:lnTo>
                    <a:pt x="376" y="92"/>
                  </a:lnTo>
                  <a:lnTo>
                    <a:pt x="386" y="104"/>
                  </a:lnTo>
                  <a:lnTo>
                    <a:pt x="394" y="114"/>
                  </a:lnTo>
                  <a:lnTo>
                    <a:pt x="394" y="122"/>
                  </a:lnTo>
                  <a:lnTo>
                    <a:pt x="394" y="134"/>
                  </a:lnTo>
                  <a:lnTo>
                    <a:pt x="392" y="150"/>
                  </a:lnTo>
                  <a:lnTo>
                    <a:pt x="386" y="156"/>
                  </a:lnTo>
                  <a:lnTo>
                    <a:pt x="394" y="164"/>
                  </a:lnTo>
                  <a:lnTo>
                    <a:pt x="402" y="178"/>
                  </a:lnTo>
                  <a:lnTo>
                    <a:pt x="408" y="192"/>
                  </a:lnTo>
                  <a:lnTo>
                    <a:pt x="408" y="196"/>
                  </a:lnTo>
                  <a:lnTo>
                    <a:pt x="400" y="200"/>
                  </a:lnTo>
                  <a:lnTo>
                    <a:pt x="364" y="200"/>
                  </a:lnTo>
                  <a:lnTo>
                    <a:pt x="356" y="200"/>
                  </a:lnTo>
                  <a:lnTo>
                    <a:pt x="350" y="204"/>
                  </a:lnTo>
                  <a:lnTo>
                    <a:pt x="350" y="214"/>
                  </a:lnTo>
                  <a:lnTo>
                    <a:pt x="346" y="222"/>
                  </a:lnTo>
                  <a:lnTo>
                    <a:pt x="330" y="236"/>
                  </a:lnTo>
                  <a:lnTo>
                    <a:pt x="332" y="248"/>
                  </a:lnTo>
                  <a:lnTo>
                    <a:pt x="330" y="256"/>
                  </a:lnTo>
                  <a:lnTo>
                    <a:pt x="324" y="260"/>
                  </a:lnTo>
                  <a:lnTo>
                    <a:pt x="330" y="276"/>
                  </a:lnTo>
                  <a:lnTo>
                    <a:pt x="332" y="288"/>
                  </a:lnTo>
                  <a:lnTo>
                    <a:pt x="326" y="294"/>
                  </a:lnTo>
                  <a:lnTo>
                    <a:pt x="316" y="304"/>
                  </a:lnTo>
                  <a:lnTo>
                    <a:pt x="312" y="314"/>
                  </a:lnTo>
                  <a:lnTo>
                    <a:pt x="310" y="328"/>
                  </a:lnTo>
                  <a:lnTo>
                    <a:pt x="290" y="336"/>
                  </a:lnTo>
                  <a:lnTo>
                    <a:pt x="280" y="344"/>
                  </a:lnTo>
                  <a:lnTo>
                    <a:pt x="264" y="354"/>
                  </a:lnTo>
                  <a:lnTo>
                    <a:pt x="266" y="362"/>
                  </a:lnTo>
                  <a:lnTo>
                    <a:pt x="252" y="364"/>
                  </a:lnTo>
                  <a:lnTo>
                    <a:pt x="246" y="370"/>
                  </a:lnTo>
                  <a:lnTo>
                    <a:pt x="234" y="388"/>
                  </a:lnTo>
                  <a:lnTo>
                    <a:pt x="222" y="396"/>
                  </a:lnTo>
                  <a:lnTo>
                    <a:pt x="226" y="410"/>
                  </a:lnTo>
                  <a:lnTo>
                    <a:pt x="218" y="414"/>
                  </a:lnTo>
                  <a:lnTo>
                    <a:pt x="212" y="420"/>
                  </a:lnTo>
                  <a:lnTo>
                    <a:pt x="218" y="442"/>
                  </a:lnTo>
                  <a:lnTo>
                    <a:pt x="216" y="456"/>
                  </a:lnTo>
                  <a:lnTo>
                    <a:pt x="202" y="462"/>
                  </a:lnTo>
                  <a:lnTo>
                    <a:pt x="200" y="484"/>
                  </a:lnTo>
                  <a:lnTo>
                    <a:pt x="202" y="512"/>
                  </a:lnTo>
                  <a:lnTo>
                    <a:pt x="208" y="524"/>
                  </a:lnTo>
                  <a:lnTo>
                    <a:pt x="228" y="540"/>
                  </a:lnTo>
                  <a:lnTo>
                    <a:pt x="236" y="556"/>
                  </a:lnTo>
                  <a:lnTo>
                    <a:pt x="244" y="572"/>
                  </a:lnTo>
                  <a:lnTo>
                    <a:pt x="250" y="584"/>
                  </a:lnTo>
                  <a:lnTo>
                    <a:pt x="244" y="594"/>
                  </a:lnTo>
                  <a:lnTo>
                    <a:pt x="234" y="602"/>
                  </a:lnTo>
                  <a:lnTo>
                    <a:pt x="226" y="600"/>
                  </a:lnTo>
                  <a:lnTo>
                    <a:pt x="218" y="592"/>
                  </a:lnTo>
                  <a:lnTo>
                    <a:pt x="208" y="594"/>
                  </a:lnTo>
                  <a:lnTo>
                    <a:pt x="204" y="602"/>
                  </a:lnTo>
                  <a:lnTo>
                    <a:pt x="188" y="602"/>
                  </a:lnTo>
                  <a:lnTo>
                    <a:pt x="164" y="600"/>
                  </a:lnTo>
                  <a:lnTo>
                    <a:pt x="158" y="606"/>
                  </a:lnTo>
                  <a:lnTo>
                    <a:pt x="174" y="612"/>
                  </a:lnTo>
                  <a:lnTo>
                    <a:pt x="196" y="606"/>
                  </a:lnTo>
                  <a:lnTo>
                    <a:pt x="202" y="616"/>
                  </a:lnTo>
                  <a:lnTo>
                    <a:pt x="218" y="618"/>
                  </a:lnTo>
                  <a:lnTo>
                    <a:pt x="230" y="624"/>
                  </a:lnTo>
                  <a:lnTo>
                    <a:pt x="226" y="628"/>
                  </a:lnTo>
                  <a:lnTo>
                    <a:pt x="210" y="626"/>
                  </a:lnTo>
                  <a:lnTo>
                    <a:pt x="208" y="632"/>
                  </a:lnTo>
                  <a:lnTo>
                    <a:pt x="210" y="640"/>
                  </a:lnTo>
                  <a:lnTo>
                    <a:pt x="202" y="650"/>
                  </a:lnTo>
                  <a:lnTo>
                    <a:pt x="188" y="660"/>
                  </a:lnTo>
                  <a:lnTo>
                    <a:pt x="182" y="664"/>
                  </a:lnTo>
                  <a:lnTo>
                    <a:pt x="178" y="666"/>
                  </a:lnTo>
                  <a:lnTo>
                    <a:pt x="180" y="680"/>
                  </a:lnTo>
                  <a:lnTo>
                    <a:pt x="174" y="688"/>
                  </a:lnTo>
                  <a:lnTo>
                    <a:pt x="166" y="704"/>
                  </a:lnTo>
                  <a:lnTo>
                    <a:pt x="170" y="720"/>
                  </a:lnTo>
                  <a:lnTo>
                    <a:pt x="164" y="744"/>
                  </a:lnTo>
                  <a:lnTo>
                    <a:pt x="158" y="754"/>
                  </a:lnTo>
                  <a:lnTo>
                    <a:pt x="158" y="770"/>
                  </a:lnTo>
                  <a:lnTo>
                    <a:pt x="150" y="782"/>
                  </a:lnTo>
                  <a:lnTo>
                    <a:pt x="140" y="800"/>
                  </a:lnTo>
                  <a:lnTo>
                    <a:pt x="136" y="814"/>
                  </a:lnTo>
                  <a:lnTo>
                    <a:pt x="116" y="810"/>
                  </a:lnTo>
                  <a:lnTo>
                    <a:pt x="98" y="810"/>
                  </a:lnTo>
                  <a:lnTo>
                    <a:pt x="94" y="818"/>
                  </a:lnTo>
                  <a:lnTo>
                    <a:pt x="84" y="822"/>
                  </a:lnTo>
                  <a:lnTo>
                    <a:pt x="78" y="824"/>
                  </a:lnTo>
                  <a:lnTo>
                    <a:pt x="80" y="834"/>
                  </a:lnTo>
                  <a:lnTo>
                    <a:pt x="78" y="848"/>
                  </a:lnTo>
                  <a:lnTo>
                    <a:pt x="64" y="856"/>
                  </a:lnTo>
                  <a:lnTo>
                    <a:pt x="56" y="848"/>
                  </a:lnTo>
                  <a:lnTo>
                    <a:pt x="46" y="856"/>
                  </a:lnTo>
                  <a:lnTo>
                    <a:pt x="32" y="856"/>
                  </a:lnTo>
                  <a:lnTo>
                    <a:pt x="26" y="848"/>
                  </a:lnTo>
                  <a:lnTo>
                    <a:pt x="32" y="842"/>
                  </a:lnTo>
                  <a:lnTo>
                    <a:pt x="34" y="826"/>
                  </a:lnTo>
                  <a:lnTo>
                    <a:pt x="24" y="806"/>
                  </a:lnTo>
                  <a:lnTo>
                    <a:pt x="18" y="794"/>
                  </a:lnTo>
                  <a:lnTo>
                    <a:pt x="22" y="788"/>
                  </a:lnTo>
                  <a:lnTo>
                    <a:pt x="26" y="788"/>
                  </a:lnTo>
                  <a:lnTo>
                    <a:pt x="30" y="784"/>
                  </a:lnTo>
                  <a:lnTo>
                    <a:pt x="32" y="778"/>
                  </a:lnTo>
                  <a:lnTo>
                    <a:pt x="34" y="774"/>
                  </a:lnTo>
                  <a:lnTo>
                    <a:pt x="32" y="768"/>
                  </a:lnTo>
                  <a:lnTo>
                    <a:pt x="26" y="758"/>
                  </a:lnTo>
                  <a:lnTo>
                    <a:pt x="16" y="742"/>
                  </a:lnTo>
                  <a:lnTo>
                    <a:pt x="18" y="724"/>
                  </a:lnTo>
                  <a:lnTo>
                    <a:pt x="10" y="712"/>
                  </a:lnTo>
                  <a:lnTo>
                    <a:pt x="2" y="704"/>
                  </a:lnTo>
                  <a:lnTo>
                    <a:pt x="8" y="690"/>
                  </a:lnTo>
                  <a:lnTo>
                    <a:pt x="14" y="664"/>
                  </a:lnTo>
                  <a:lnTo>
                    <a:pt x="2" y="650"/>
                  </a:lnTo>
                  <a:lnTo>
                    <a:pt x="0" y="636"/>
                  </a:lnTo>
                  <a:lnTo>
                    <a:pt x="0" y="628"/>
                  </a:lnTo>
                  <a:lnTo>
                    <a:pt x="4" y="612"/>
                  </a:lnTo>
                  <a:lnTo>
                    <a:pt x="14" y="616"/>
                  </a:lnTo>
                  <a:lnTo>
                    <a:pt x="22" y="594"/>
                  </a:lnTo>
                  <a:lnTo>
                    <a:pt x="22" y="570"/>
                  </a:lnTo>
                  <a:lnTo>
                    <a:pt x="24" y="562"/>
                  </a:lnTo>
                  <a:lnTo>
                    <a:pt x="34" y="554"/>
                  </a:lnTo>
                  <a:lnTo>
                    <a:pt x="50" y="544"/>
                  </a:lnTo>
                  <a:lnTo>
                    <a:pt x="50" y="530"/>
                  </a:lnTo>
                  <a:lnTo>
                    <a:pt x="48" y="490"/>
                  </a:lnTo>
                  <a:lnTo>
                    <a:pt x="42" y="484"/>
                  </a:lnTo>
                  <a:lnTo>
                    <a:pt x="42" y="474"/>
                  </a:lnTo>
                  <a:lnTo>
                    <a:pt x="56" y="468"/>
                  </a:lnTo>
                  <a:lnTo>
                    <a:pt x="62" y="462"/>
                  </a:lnTo>
                  <a:lnTo>
                    <a:pt x="54" y="448"/>
                  </a:lnTo>
                  <a:lnTo>
                    <a:pt x="42" y="432"/>
                  </a:lnTo>
                  <a:lnTo>
                    <a:pt x="46" y="412"/>
                  </a:lnTo>
                  <a:lnTo>
                    <a:pt x="48" y="400"/>
                  </a:lnTo>
                  <a:lnTo>
                    <a:pt x="60" y="376"/>
                  </a:lnTo>
                  <a:lnTo>
                    <a:pt x="60" y="364"/>
                  </a:lnTo>
                  <a:lnTo>
                    <a:pt x="60" y="344"/>
                  </a:lnTo>
                  <a:lnTo>
                    <a:pt x="68" y="324"/>
                  </a:lnTo>
                  <a:lnTo>
                    <a:pt x="80" y="314"/>
                  </a:lnTo>
                  <a:lnTo>
                    <a:pt x="94" y="306"/>
                  </a:lnTo>
                  <a:lnTo>
                    <a:pt x="108" y="308"/>
                  </a:lnTo>
                  <a:lnTo>
                    <a:pt x="122" y="314"/>
                  </a:lnTo>
                  <a:lnTo>
                    <a:pt x="128" y="294"/>
                  </a:lnTo>
                  <a:lnTo>
                    <a:pt x="122" y="280"/>
                  </a:lnTo>
                  <a:lnTo>
                    <a:pt x="116" y="268"/>
                  </a:lnTo>
                  <a:lnTo>
                    <a:pt x="114" y="260"/>
                  </a:lnTo>
                  <a:lnTo>
                    <a:pt x="116" y="252"/>
                  </a:lnTo>
                  <a:lnTo>
                    <a:pt x="126" y="250"/>
                  </a:lnTo>
                  <a:lnTo>
                    <a:pt x="128" y="232"/>
                  </a:lnTo>
                  <a:lnTo>
                    <a:pt x="134" y="214"/>
                  </a:lnTo>
                  <a:lnTo>
                    <a:pt x="136" y="202"/>
                  </a:lnTo>
                  <a:lnTo>
                    <a:pt x="136" y="188"/>
                  </a:lnTo>
                  <a:lnTo>
                    <a:pt x="144" y="176"/>
                  </a:lnTo>
                  <a:lnTo>
                    <a:pt x="162" y="164"/>
                  </a:lnTo>
                  <a:lnTo>
                    <a:pt x="172" y="162"/>
                  </a:lnTo>
                  <a:lnTo>
                    <a:pt x="172" y="148"/>
                  </a:lnTo>
                  <a:lnTo>
                    <a:pt x="178" y="140"/>
                  </a:lnTo>
                  <a:lnTo>
                    <a:pt x="188" y="126"/>
                  </a:lnTo>
                  <a:lnTo>
                    <a:pt x="200" y="120"/>
                  </a:lnTo>
                  <a:lnTo>
                    <a:pt x="194" y="96"/>
                  </a:lnTo>
                  <a:lnTo>
                    <a:pt x="214" y="74"/>
                  </a:lnTo>
                  <a:lnTo>
                    <a:pt x="218" y="64"/>
                  </a:lnTo>
                  <a:lnTo>
                    <a:pt x="234" y="62"/>
                  </a:lnTo>
                  <a:lnTo>
                    <a:pt x="242" y="50"/>
                  </a:lnTo>
                  <a:lnTo>
                    <a:pt x="242" y="42"/>
                  </a:lnTo>
                  <a:lnTo>
                    <a:pt x="252" y="32"/>
                  </a:lnTo>
                  <a:lnTo>
                    <a:pt x="270" y="30"/>
                  </a:lnTo>
                  <a:lnTo>
                    <a:pt x="290" y="30"/>
                  </a:lnTo>
                  <a:lnTo>
                    <a:pt x="308" y="14"/>
                  </a:lnTo>
                  <a:lnTo>
                    <a:pt x="304" y="0"/>
                  </a:lnTo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36" name="Freeform 130"/>
            <p:cNvSpPr>
              <a:spLocks/>
            </p:cNvSpPr>
            <p:nvPr/>
          </p:nvSpPr>
          <p:spPr bwMode="auto">
            <a:xfrm>
              <a:off x="1937643" y="1563911"/>
              <a:ext cx="280779" cy="621980"/>
            </a:xfrm>
            <a:custGeom>
              <a:avLst/>
              <a:gdLst>
                <a:gd name="T0" fmla="*/ 320 w 408"/>
                <a:gd name="T1" fmla="*/ 14 h 856"/>
                <a:gd name="T2" fmla="*/ 376 w 408"/>
                <a:gd name="T3" fmla="*/ 52 h 856"/>
                <a:gd name="T4" fmla="*/ 380 w 408"/>
                <a:gd name="T5" fmla="*/ 84 h 856"/>
                <a:gd name="T6" fmla="*/ 394 w 408"/>
                <a:gd name="T7" fmla="*/ 114 h 856"/>
                <a:gd name="T8" fmla="*/ 392 w 408"/>
                <a:gd name="T9" fmla="*/ 150 h 856"/>
                <a:gd name="T10" fmla="*/ 402 w 408"/>
                <a:gd name="T11" fmla="*/ 178 h 856"/>
                <a:gd name="T12" fmla="*/ 400 w 408"/>
                <a:gd name="T13" fmla="*/ 200 h 856"/>
                <a:gd name="T14" fmla="*/ 350 w 408"/>
                <a:gd name="T15" fmla="*/ 204 h 856"/>
                <a:gd name="T16" fmla="*/ 330 w 408"/>
                <a:gd name="T17" fmla="*/ 236 h 856"/>
                <a:gd name="T18" fmla="*/ 324 w 408"/>
                <a:gd name="T19" fmla="*/ 260 h 856"/>
                <a:gd name="T20" fmla="*/ 326 w 408"/>
                <a:gd name="T21" fmla="*/ 294 h 856"/>
                <a:gd name="T22" fmla="*/ 310 w 408"/>
                <a:gd name="T23" fmla="*/ 328 h 856"/>
                <a:gd name="T24" fmla="*/ 264 w 408"/>
                <a:gd name="T25" fmla="*/ 354 h 856"/>
                <a:gd name="T26" fmla="*/ 246 w 408"/>
                <a:gd name="T27" fmla="*/ 370 h 856"/>
                <a:gd name="T28" fmla="*/ 226 w 408"/>
                <a:gd name="T29" fmla="*/ 410 h 856"/>
                <a:gd name="T30" fmla="*/ 218 w 408"/>
                <a:gd name="T31" fmla="*/ 442 h 856"/>
                <a:gd name="T32" fmla="*/ 200 w 408"/>
                <a:gd name="T33" fmla="*/ 484 h 856"/>
                <a:gd name="T34" fmla="*/ 228 w 408"/>
                <a:gd name="T35" fmla="*/ 540 h 856"/>
                <a:gd name="T36" fmla="*/ 250 w 408"/>
                <a:gd name="T37" fmla="*/ 584 h 856"/>
                <a:gd name="T38" fmla="*/ 226 w 408"/>
                <a:gd name="T39" fmla="*/ 600 h 856"/>
                <a:gd name="T40" fmla="*/ 204 w 408"/>
                <a:gd name="T41" fmla="*/ 602 h 856"/>
                <a:gd name="T42" fmla="*/ 158 w 408"/>
                <a:gd name="T43" fmla="*/ 606 h 856"/>
                <a:gd name="T44" fmla="*/ 202 w 408"/>
                <a:gd name="T45" fmla="*/ 616 h 856"/>
                <a:gd name="T46" fmla="*/ 226 w 408"/>
                <a:gd name="T47" fmla="*/ 628 h 856"/>
                <a:gd name="T48" fmla="*/ 210 w 408"/>
                <a:gd name="T49" fmla="*/ 640 h 856"/>
                <a:gd name="T50" fmla="*/ 182 w 408"/>
                <a:gd name="T51" fmla="*/ 664 h 856"/>
                <a:gd name="T52" fmla="*/ 174 w 408"/>
                <a:gd name="T53" fmla="*/ 688 h 856"/>
                <a:gd name="T54" fmla="*/ 164 w 408"/>
                <a:gd name="T55" fmla="*/ 744 h 856"/>
                <a:gd name="T56" fmla="*/ 150 w 408"/>
                <a:gd name="T57" fmla="*/ 782 h 856"/>
                <a:gd name="T58" fmla="*/ 116 w 408"/>
                <a:gd name="T59" fmla="*/ 810 h 856"/>
                <a:gd name="T60" fmla="*/ 84 w 408"/>
                <a:gd name="T61" fmla="*/ 822 h 856"/>
                <a:gd name="T62" fmla="*/ 78 w 408"/>
                <a:gd name="T63" fmla="*/ 848 h 856"/>
                <a:gd name="T64" fmla="*/ 46 w 408"/>
                <a:gd name="T65" fmla="*/ 856 h 856"/>
                <a:gd name="T66" fmla="*/ 32 w 408"/>
                <a:gd name="T67" fmla="*/ 842 h 856"/>
                <a:gd name="T68" fmla="*/ 18 w 408"/>
                <a:gd name="T69" fmla="*/ 794 h 856"/>
                <a:gd name="T70" fmla="*/ 30 w 408"/>
                <a:gd name="T71" fmla="*/ 784 h 856"/>
                <a:gd name="T72" fmla="*/ 32 w 408"/>
                <a:gd name="T73" fmla="*/ 768 h 856"/>
                <a:gd name="T74" fmla="*/ 18 w 408"/>
                <a:gd name="T75" fmla="*/ 724 h 856"/>
                <a:gd name="T76" fmla="*/ 8 w 408"/>
                <a:gd name="T77" fmla="*/ 690 h 856"/>
                <a:gd name="T78" fmla="*/ 0 w 408"/>
                <a:gd name="T79" fmla="*/ 636 h 856"/>
                <a:gd name="T80" fmla="*/ 14 w 408"/>
                <a:gd name="T81" fmla="*/ 616 h 856"/>
                <a:gd name="T82" fmla="*/ 24 w 408"/>
                <a:gd name="T83" fmla="*/ 562 h 856"/>
                <a:gd name="T84" fmla="*/ 50 w 408"/>
                <a:gd name="T85" fmla="*/ 530 h 856"/>
                <a:gd name="T86" fmla="*/ 42 w 408"/>
                <a:gd name="T87" fmla="*/ 474 h 856"/>
                <a:gd name="T88" fmla="*/ 54 w 408"/>
                <a:gd name="T89" fmla="*/ 448 h 856"/>
                <a:gd name="T90" fmla="*/ 48 w 408"/>
                <a:gd name="T91" fmla="*/ 400 h 856"/>
                <a:gd name="T92" fmla="*/ 60 w 408"/>
                <a:gd name="T93" fmla="*/ 344 h 856"/>
                <a:gd name="T94" fmla="*/ 94 w 408"/>
                <a:gd name="T95" fmla="*/ 306 h 856"/>
                <a:gd name="T96" fmla="*/ 128 w 408"/>
                <a:gd name="T97" fmla="*/ 294 h 856"/>
                <a:gd name="T98" fmla="*/ 114 w 408"/>
                <a:gd name="T99" fmla="*/ 260 h 856"/>
                <a:gd name="T100" fmla="*/ 128 w 408"/>
                <a:gd name="T101" fmla="*/ 232 h 856"/>
                <a:gd name="T102" fmla="*/ 136 w 408"/>
                <a:gd name="T103" fmla="*/ 188 h 856"/>
                <a:gd name="T104" fmla="*/ 172 w 408"/>
                <a:gd name="T105" fmla="*/ 162 h 856"/>
                <a:gd name="T106" fmla="*/ 188 w 408"/>
                <a:gd name="T107" fmla="*/ 126 h 856"/>
                <a:gd name="T108" fmla="*/ 214 w 408"/>
                <a:gd name="T109" fmla="*/ 74 h 856"/>
                <a:gd name="T110" fmla="*/ 242 w 408"/>
                <a:gd name="T111" fmla="*/ 50 h 856"/>
                <a:gd name="T112" fmla="*/ 270 w 408"/>
                <a:gd name="T113" fmla="*/ 30 h 856"/>
                <a:gd name="T114" fmla="*/ 304 w 408"/>
                <a:gd name="T115" fmla="*/ 0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8" h="856">
                  <a:moveTo>
                    <a:pt x="308" y="0"/>
                  </a:moveTo>
                  <a:lnTo>
                    <a:pt x="312" y="2"/>
                  </a:lnTo>
                  <a:lnTo>
                    <a:pt x="320" y="14"/>
                  </a:lnTo>
                  <a:lnTo>
                    <a:pt x="356" y="50"/>
                  </a:lnTo>
                  <a:lnTo>
                    <a:pt x="362" y="42"/>
                  </a:lnTo>
                  <a:lnTo>
                    <a:pt x="376" y="52"/>
                  </a:lnTo>
                  <a:lnTo>
                    <a:pt x="380" y="62"/>
                  </a:lnTo>
                  <a:lnTo>
                    <a:pt x="380" y="70"/>
                  </a:lnTo>
                  <a:lnTo>
                    <a:pt x="380" y="84"/>
                  </a:lnTo>
                  <a:lnTo>
                    <a:pt x="376" y="92"/>
                  </a:lnTo>
                  <a:lnTo>
                    <a:pt x="386" y="104"/>
                  </a:lnTo>
                  <a:lnTo>
                    <a:pt x="394" y="114"/>
                  </a:lnTo>
                  <a:lnTo>
                    <a:pt x="394" y="122"/>
                  </a:lnTo>
                  <a:lnTo>
                    <a:pt x="394" y="134"/>
                  </a:lnTo>
                  <a:lnTo>
                    <a:pt x="392" y="150"/>
                  </a:lnTo>
                  <a:lnTo>
                    <a:pt x="386" y="156"/>
                  </a:lnTo>
                  <a:lnTo>
                    <a:pt x="394" y="164"/>
                  </a:lnTo>
                  <a:lnTo>
                    <a:pt x="402" y="178"/>
                  </a:lnTo>
                  <a:lnTo>
                    <a:pt x="408" y="192"/>
                  </a:lnTo>
                  <a:lnTo>
                    <a:pt x="408" y="196"/>
                  </a:lnTo>
                  <a:lnTo>
                    <a:pt x="400" y="200"/>
                  </a:lnTo>
                  <a:lnTo>
                    <a:pt x="364" y="200"/>
                  </a:lnTo>
                  <a:lnTo>
                    <a:pt x="356" y="200"/>
                  </a:lnTo>
                  <a:lnTo>
                    <a:pt x="350" y="204"/>
                  </a:lnTo>
                  <a:lnTo>
                    <a:pt x="350" y="214"/>
                  </a:lnTo>
                  <a:lnTo>
                    <a:pt x="346" y="222"/>
                  </a:lnTo>
                  <a:lnTo>
                    <a:pt x="330" y="236"/>
                  </a:lnTo>
                  <a:lnTo>
                    <a:pt x="332" y="248"/>
                  </a:lnTo>
                  <a:lnTo>
                    <a:pt x="330" y="256"/>
                  </a:lnTo>
                  <a:lnTo>
                    <a:pt x="324" y="260"/>
                  </a:lnTo>
                  <a:lnTo>
                    <a:pt x="330" y="276"/>
                  </a:lnTo>
                  <a:lnTo>
                    <a:pt x="332" y="288"/>
                  </a:lnTo>
                  <a:lnTo>
                    <a:pt x="326" y="294"/>
                  </a:lnTo>
                  <a:lnTo>
                    <a:pt x="316" y="304"/>
                  </a:lnTo>
                  <a:lnTo>
                    <a:pt x="312" y="314"/>
                  </a:lnTo>
                  <a:lnTo>
                    <a:pt x="310" y="328"/>
                  </a:lnTo>
                  <a:lnTo>
                    <a:pt x="290" y="336"/>
                  </a:lnTo>
                  <a:lnTo>
                    <a:pt x="280" y="344"/>
                  </a:lnTo>
                  <a:lnTo>
                    <a:pt x="264" y="354"/>
                  </a:lnTo>
                  <a:lnTo>
                    <a:pt x="266" y="362"/>
                  </a:lnTo>
                  <a:lnTo>
                    <a:pt x="252" y="364"/>
                  </a:lnTo>
                  <a:lnTo>
                    <a:pt x="246" y="370"/>
                  </a:lnTo>
                  <a:lnTo>
                    <a:pt x="234" y="388"/>
                  </a:lnTo>
                  <a:lnTo>
                    <a:pt x="222" y="396"/>
                  </a:lnTo>
                  <a:lnTo>
                    <a:pt x="226" y="410"/>
                  </a:lnTo>
                  <a:lnTo>
                    <a:pt x="218" y="414"/>
                  </a:lnTo>
                  <a:lnTo>
                    <a:pt x="212" y="420"/>
                  </a:lnTo>
                  <a:lnTo>
                    <a:pt x="218" y="442"/>
                  </a:lnTo>
                  <a:lnTo>
                    <a:pt x="216" y="456"/>
                  </a:lnTo>
                  <a:lnTo>
                    <a:pt x="202" y="462"/>
                  </a:lnTo>
                  <a:lnTo>
                    <a:pt x="200" y="484"/>
                  </a:lnTo>
                  <a:lnTo>
                    <a:pt x="202" y="512"/>
                  </a:lnTo>
                  <a:lnTo>
                    <a:pt x="208" y="524"/>
                  </a:lnTo>
                  <a:lnTo>
                    <a:pt x="228" y="540"/>
                  </a:lnTo>
                  <a:lnTo>
                    <a:pt x="236" y="556"/>
                  </a:lnTo>
                  <a:lnTo>
                    <a:pt x="244" y="572"/>
                  </a:lnTo>
                  <a:lnTo>
                    <a:pt x="250" y="584"/>
                  </a:lnTo>
                  <a:lnTo>
                    <a:pt x="244" y="594"/>
                  </a:lnTo>
                  <a:lnTo>
                    <a:pt x="234" y="602"/>
                  </a:lnTo>
                  <a:lnTo>
                    <a:pt x="226" y="600"/>
                  </a:lnTo>
                  <a:lnTo>
                    <a:pt x="218" y="592"/>
                  </a:lnTo>
                  <a:lnTo>
                    <a:pt x="208" y="594"/>
                  </a:lnTo>
                  <a:lnTo>
                    <a:pt x="204" y="602"/>
                  </a:lnTo>
                  <a:lnTo>
                    <a:pt x="188" y="602"/>
                  </a:lnTo>
                  <a:lnTo>
                    <a:pt x="164" y="600"/>
                  </a:lnTo>
                  <a:lnTo>
                    <a:pt x="158" y="606"/>
                  </a:lnTo>
                  <a:lnTo>
                    <a:pt x="174" y="612"/>
                  </a:lnTo>
                  <a:lnTo>
                    <a:pt x="196" y="606"/>
                  </a:lnTo>
                  <a:lnTo>
                    <a:pt x="202" y="616"/>
                  </a:lnTo>
                  <a:lnTo>
                    <a:pt x="218" y="618"/>
                  </a:lnTo>
                  <a:lnTo>
                    <a:pt x="230" y="624"/>
                  </a:lnTo>
                  <a:lnTo>
                    <a:pt x="226" y="628"/>
                  </a:lnTo>
                  <a:lnTo>
                    <a:pt x="210" y="626"/>
                  </a:lnTo>
                  <a:lnTo>
                    <a:pt x="208" y="632"/>
                  </a:lnTo>
                  <a:lnTo>
                    <a:pt x="210" y="640"/>
                  </a:lnTo>
                  <a:lnTo>
                    <a:pt x="202" y="650"/>
                  </a:lnTo>
                  <a:lnTo>
                    <a:pt x="188" y="660"/>
                  </a:lnTo>
                  <a:lnTo>
                    <a:pt x="182" y="664"/>
                  </a:lnTo>
                  <a:lnTo>
                    <a:pt x="178" y="666"/>
                  </a:lnTo>
                  <a:lnTo>
                    <a:pt x="180" y="680"/>
                  </a:lnTo>
                  <a:lnTo>
                    <a:pt x="174" y="688"/>
                  </a:lnTo>
                  <a:lnTo>
                    <a:pt x="166" y="704"/>
                  </a:lnTo>
                  <a:lnTo>
                    <a:pt x="170" y="720"/>
                  </a:lnTo>
                  <a:lnTo>
                    <a:pt x="164" y="744"/>
                  </a:lnTo>
                  <a:lnTo>
                    <a:pt x="158" y="754"/>
                  </a:lnTo>
                  <a:lnTo>
                    <a:pt x="158" y="770"/>
                  </a:lnTo>
                  <a:lnTo>
                    <a:pt x="150" y="782"/>
                  </a:lnTo>
                  <a:lnTo>
                    <a:pt x="140" y="800"/>
                  </a:lnTo>
                  <a:lnTo>
                    <a:pt x="136" y="814"/>
                  </a:lnTo>
                  <a:lnTo>
                    <a:pt x="116" y="810"/>
                  </a:lnTo>
                  <a:lnTo>
                    <a:pt x="98" y="810"/>
                  </a:lnTo>
                  <a:lnTo>
                    <a:pt x="94" y="818"/>
                  </a:lnTo>
                  <a:lnTo>
                    <a:pt x="84" y="822"/>
                  </a:lnTo>
                  <a:lnTo>
                    <a:pt x="78" y="824"/>
                  </a:lnTo>
                  <a:lnTo>
                    <a:pt x="80" y="834"/>
                  </a:lnTo>
                  <a:lnTo>
                    <a:pt x="78" y="848"/>
                  </a:lnTo>
                  <a:lnTo>
                    <a:pt x="64" y="856"/>
                  </a:lnTo>
                  <a:lnTo>
                    <a:pt x="56" y="848"/>
                  </a:lnTo>
                  <a:lnTo>
                    <a:pt x="46" y="856"/>
                  </a:lnTo>
                  <a:lnTo>
                    <a:pt x="32" y="856"/>
                  </a:lnTo>
                  <a:lnTo>
                    <a:pt x="26" y="848"/>
                  </a:lnTo>
                  <a:lnTo>
                    <a:pt x="32" y="842"/>
                  </a:lnTo>
                  <a:lnTo>
                    <a:pt x="34" y="826"/>
                  </a:lnTo>
                  <a:lnTo>
                    <a:pt x="24" y="806"/>
                  </a:lnTo>
                  <a:lnTo>
                    <a:pt x="18" y="794"/>
                  </a:lnTo>
                  <a:lnTo>
                    <a:pt x="22" y="788"/>
                  </a:lnTo>
                  <a:lnTo>
                    <a:pt x="26" y="788"/>
                  </a:lnTo>
                  <a:lnTo>
                    <a:pt x="30" y="784"/>
                  </a:lnTo>
                  <a:lnTo>
                    <a:pt x="32" y="778"/>
                  </a:lnTo>
                  <a:lnTo>
                    <a:pt x="34" y="774"/>
                  </a:lnTo>
                  <a:lnTo>
                    <a:pt x="32" y="768"/>
                  </a:lnTo>
                  <a:lnTo>
                    <a:pt x="26" y="758"/>
                  </a:lnTo>
                  <a:lnTo>
                    <a:pt x="16" y="742"/>
                  </a:lnTo>
                  <a:lnTo>
                    <a:pt x="18" y="724"/>
                  </a:lnTo>
                  <a:lnTo>
                    <a:pt x="10" y="712"/>
                  </a:lnTo>
                  <a:lnTo>
                    <a:pt x="2" y="704"/>
                  </a:lnTo>
                  <a:lnTo>
                    <a:pt x="8" y="690"/>
                  </a:lnTo>
                  <a:lnTo>
                    <a:pt x="14" y="664"/>
                  </a:lnTo>
                  <a:lnTo>
                    <a:pt x="2" y="650"/>
                  </a:lnTo>
                  <a:lnTo>
                    <a:pt x="0" y="636"/>
                  </a:lnTo>
                  <a:lnTo>
                    <a:pt x="0" y="628"/>
                  </a:lnTo>
                  <a:lnTo>
                    <a:pt x="4" y="612"/>
                  </a:lnTo>
                  <a:lnTo>
                    <a:pt x="14" y="616"/>
                  </a:lnTo>
                  <a:lnTo>
                    <a:pt x="22" y="594"/>
                  </a:lnTo>
                  <a:lnTo>
                    <a:pt x="22" y="570"/>
                  </a:lnTo>
                  <a:lnTo>
                    <a:pt x="24" y="562"/>
                  </a:lnTo>
                  <a:lnTo>
                    <a:pt x="34" y="554"/>
                  </a:lnTo>
                  <a:lnTo>
                    <a:pt x="50" y="544"/>
                  </a:lnTo>
                  <a:lnTo>
                    <a:pt x="50" y="530"/>
                  </a:lnTo>
                  <a:lnTo>
                    <a:pt x="48" y="490"/>
                  </a:lnTo>
                  <a:lnTo>
                    <a:pt x="42" y="484"/>
                  </a:lnTo>
                  <a:lnTo>
                    <a:pt x="42" y="474"/>
                  </a:lnTo>
                  <a:lnTo>
                    <a:pt x="56" y="468"/>
                  </a:lnTo>
                  <a:lnTo>
                    <a:pt x="62" y="462"/>
                  </a:lnTo>
                  <a:lnTo>
                    <a:pt x="54" y="448"/>
                  </a:lnTo>
                  <a:lnTo>
                    <a:pt x="42" y="432"/>
                  </a:lnTo>
                  <a:lnTo>
                    <a:pt x="46" y="412"/>
                  </a:lnTo>
                  <a:lnTo>
                    <a:pt x="48" y="400"/>
                  </a:lnTo>
                  <a:lnTo>
                    <a:pt x="60" y="376"/>
                  </a:lnTo>
                  <a:lnTo>
                    <a:pt x="60" y="364"/>
                  </a:lnTo>
                  <a:lnTo>
                    <a:pt x="60" y="344"/>
                  </a:lnTo>
                  <a:lnTo>
                    <a:pt x="68" y="324"/>
                  </a:lnTo>
                  <a:lnTo>
                    <a:pt x="80" y="314"/>
                  </a:lnTo>
                  <a:lnTo>
                    <a:pt x="94" y="306"/>
                  </a:lnTo>
                  <a:lnTo>
                    <a:pt x="108" y="308"/>
                  </a:lnTo>
                  <a:lnTo>
                    <a:pt x="122" y="314"/>
                  </a:lnTo>
                  <a:lnTo>
                    <a:pt x="128" y="294"/>
                  </a:lnTo>
                  <a:lnTo>
                    <a:pt x="122" y="280"/>
                  </a:lnTo>
                  <a:lnTo>
                    <a:pt x="116" y="268"/>
                  </a:lnTo>
                  <a:lnTo>
                    <a:pt x="114" y="260"/>
                  </a:lnTo>
                  <a:lnTo>
                    <a:pt x="116" y="252"/>
                  </a:lnTo>
                  <a:lnTo>
                    <a:pt x="126" y="250"/>
                  </a:lnTo>
                  <a:lnTo>
                    <a:pt x="128" y="232"/>
                  </a:lnTo>
                  <a:lnTo>
                    <a:pt x="134" y="214"/>
                  </a:lnTo>
                  <a:lnTo>
                    <a:pt x="136" y="202"/>
                  </a:lnTo>
                  <a:lnTo>
                    <a:pt x="136" y="188"/>
                  </a:lnTo>
                  <a:lnTo>
                    <a:pt x="144" y="176"/>
                  </a:lnTo>
                  <a:lnTo>
                    <a:pt x="162" y="164"/>
                  </a:lnTo>
                  <a:lnTo>
                    <a:pt x="172" y="162"/>
                  </a:lnTo>
                  <a:lnTo>
                    <a:pt x="172" y="148"/>
                  </a:lnTo>
                  <a:lnTo>
                    <a:pt x="178" y="140"/>
                  </a:lnTo>
                  <a:lnTo>
                    <a:pt x="188" y="126"/>
                  </a:lnTo>
                  <a:lnTo>
                    <a:pt x="200" y="120"/>
                  </a:lnTo>
                  <a:lnTo>
                    <a:pt x="194" y="96"/>
                  </a:lnTo>
                  <a:lnTo>
                    <a:pt x="214" y="74"/>
                  </a:lnTo>
                  <a:lnTo>
                    <a:pt x="218" y="64"/>
                  </a:lnTo>
                  <a:lnTo>
                    <a:pt x="234" y="62"/>
                  </a:lnTo>
                  <a:lnTo>
                    <a:pt x="242" y="50"/>
                  </a:lnTo>
                  <a:lnTo>
                    <a:pt x="242" y="42"/>
                  </a:lnTo>
                  <a:lnTo>
                    <a:pt x="252" y="32"/>
                  </a:lnTo>
                  <a:lnTo>
                    <a:pt x="270" y="30"/>
                  </a:lnTo>
                  <a:lnTo>
                    <a:pt x="290" y="30"/>
                  </a:lnTo>
                  <a:lnTo>
                    <a:pt x="308" y="14"/>
                  </a:lnTo>
                  <a:lnTo>
                    <a:pt x="304" y="0"/>
                  </a:lnTo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37" name="Freeform 131"/>
            <p:cNvSpPr>
              <a:spLocks/>
            </p:cNvSpPr>
            <p:nvPr/>
          </p:nvSpPr>
          <p:spPr bwMode="auto">
            <a:xfrm>
              <a:off x="1800006" y="1462186"/>
              <a:ext cx="513386" cy="582743"/>
            </a:xfrm>
            <a:custGeom>
              <a:avLst/>
              <a:gdLst>
                <a:gd name="T0" fmla="*/ 218 w 746"/>
                <a:gd name="T1" fmla="*/ 732 h 802"/>
                <a:gd name="T2" fmla="*/ 248 w 746"/>
                <a:gd name="T3" fmla="*/ 686 h 802"/>
                <a:gd name="T4" fmla="*/ 240 w 746"/>
                <a:gd name="T5" fmla="*/ 624 h 802"/>
                <a:gd name="T6" fmla="*/ 246 w 746"/>
                <a:gd name="T7" fmla="*/ 572 h 802"/>
                <a:gd name="T8" fmla="*/ 260 w 746"/>
                <a:gd name="T9" fmla="*/ 496 h 802"/>
                <a:gd name="T10" fmla="*/ 298 w 746"/>
                <a:gd name="T11" fmla="*/ 446 h 802"/>
                <a:gd name="T12" fmla="*/ 316 w 746"/>
                <a:gd name="T13" fmla="*/ 406 h 802"/>
                <a:gd name="T14" fmla="*/ 332 w 746"/>
                <a:gd name="T15" fmla="*/ 366 h 802"/>
                <a:gd name="T16" fmla="*/ 372 w 746"/>
                <a:gd name="T17" fmla="*/ 300 h 802"/>
                <a:gd name="T18" fmla="*/ 394 w 746"/>
                <a:gd name="T19" fmla="*/ 246 h 802"/>
                <a:gd name="T20" fmla="*/ 444 w 746"/>
                <a:gd name="T21" fmla="*/ 192 h 802"/>
                <a:gd name="T22" fmla="*/ 486 w 746"/>
                <a:gd name="T23" fmla="*/ 174 h 802"/>
                <a:gd name="T24" fmla="*/ 514 w 746"/>
                <a:gd name="T25" fmla="*/ 126 h 802"/>
                <a:gd name="T26" fmla="*/ 578 w 746"/>
                <a:gd name="T27" fmla="*/ 152 h 802"/>
                <a:gd name="T28" fmla="*/ 614 w 746"/>
                <a:gd name="T29" fmla="*/ 160 h 802"/>
                <a:gd name="T30" fmla="*/ 634 w 746"/>
                <a:gd name="T31" fmla="*/ 96 h 802"/>
                <a:gd name="T32" fmla="*/ 688 w 746"/>
                <a:gd name="T33" fmla="*/ 92 h 802"/>
                <a:gd name="T34" fmla="*/ 708 w 746"/>
                <a:gd name="T35" fmla="*/ 116 h 802"/>
                <a:gd name="T36" fmla="*/ 724 w 746"/>
                <a:gd name="T37" fmla="*/ 84 h 802"/>
                <a:gd name="T38" fmla="*/ 744 w 746"/>
                <a:gd name="T39" fmla="*/ 46 h 802"/>
                <a:gd name="T40" fmla="*/ 708 w 746"/>
                <a:gd name="T41" fmla="*/ 14 h 802"/>
                <a:gd name="T42" fmla="*/ 674 w 746"/>
                <a:gd name="T43" fmla="*/ 16 h 802"/>
                <a:gd name="T44" fmla="*/ 656 w 746"/>
                <a:gd name="T45" fmla="*/ 14 h 802"/>
                <a:gd name="T46" fmla="*/ 628 w 746"/>
                <a:gd name="T47" fmla="*/ 32 h 802"/>
                <a:gd name="T48" fmla="*/ 618 w 746"/>
                <a:gd name="T49" fmla="*/ 22 h 802"/>
                <a:gd name="T50" fmla="*/ 576 w 746"/>
                <a:gd name="T51" fmla="*/ 70 h 802"/>
                <a:gd name="T52" fmla="*/ 536 w 746"/>
                <a:gd name="T53" fmla="*/ 84 h 802"/>
                <a:gd name="T54" fmla="*/ 490 w 746"/>
                <a:gd name="T55" fmla="*/ 96 h 802"/>
                <a:gd name="T56" fmla="*/ 440 w 746"/>
                <a:gd name="T57" fmla="*/ 108 h 802"/>
                <a:gd name="T58" fmla="*/ 434 w 746"/>
                <a:gd name="T59" fmla="*/ 146 h 802"/>
                <a:gd name="T60" fmla="*/ 428 w 746"/>
                <a:gd name="T61" fmla="*/ 182 h 802"/>
                <a:gd name="T62" fmla="*/ 386 w 746"/>
                <a:gd name="T63" fmla="*/ 190 h 802"/>
                <a:gd name="T64" fmla="*/ 372 w 746"/>
                <a:gd name="T65" fmla="*/ 218 h 802"/>
                <a:gd name="T66" fmla="*/ 340 w 746"/>
                <a:gd name="T67" fmla="*/ 262 h 802"/>
                <a:gd name="T68" fmla="*/ 306 w 746"/>
                <a:gd name="T69" fmla="*/ 314 h 802"/>
                <a:gd name="T70" fmla="*/ 278 w 746"/>
                <a:gd name="T71" fmla="*/ 370 h 802"/>
                <a:gd name="T72" fmla="*/ 262 w 746"/>
                <a:gd name="T73" fmla="*/ 400 h 802"/>
                <a:gd name="T74" fmla="*/ 210 w 746"/>
                <a:gd name="T75" fmla="*/ 446 h 802"/>
                <a:gd name="T76" fmla="*/ 240 w 746"/>
                <a:gd name="T77" fmla="*/ 452 h 802"/>
                <a:gd name="T78" fmla="*/ 194 w 746"/>
                <a:gd name="T79" fmla="*/ 460 h 802"/>
                <a:gd name="T80" fmla="*/ 150 w 746"/>
                <a:gd name="T81" fmla="*/ 486 h 802"/>
                <a:gd name="T82" fmla="*/ 114 w 746"/>
                <a:gd name="T83" fmla="*/ 488 h 802"/>
                <a:gd name="T84" fmla="*/ 84 w 746"/>
                <a:gd name="T85" fmla="*/ 510 h 802"/>
                <a:gd name="T86" fmla="*/ 64 w 746"/>
                <a:gd name="T87" fmla="*/ 530 h 802"/>
                <a:gd name="T88" fmla="*/ 26 w 746"/>
                <a:gd name="T89" fmla="*/ 554 h 802"/>
                <a:gd name="T90" fmla="*/ 14 w 746"/>
                <a:gd name="T91" fmla="*/ 642 h 802"/>
                <a:gd name="T92" fmla="*/ 30 w 746"/>
                <a:gd name="T93" fmla="*/ 662 h 802"/>
                <a:gd name="T94" fmla="*/ 14 w 746"/>
                <a:gd name="T95" fmla="*/ 700 h 802"/>
                <a:gd name="T96" fmla="*/ 24 w 746"/>
                <a:gd name="T97" fmla="*/ 724 h 802"/>
                <a:gd name="T98" fmla="*/ 0 w 746"/>
                <a:gd name="T99" fmla="*/ 744 h 802"/>
                <a:gd name="T100" fmla="*/ 62 w 746"/>
                <a:gd name="T101" fmla="*/ 802 h 802"/>
                <a:gd name="T102" fmla="*/ 154 w 746"/>
                <a:gd name="T103" fmla="*/ 736 h 802"/>
                <a:gd name="T104" fmla="*/ 188 w 746"/>
                <a:gd name="T105" fmla="*/ 698 h 802"/>
                <a:gd name="T106" fmla="*/ 194 w 746"/>
                <a:gd name="T107" fmla="*/ 754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46" h="802">
                  <a:moveTo>
                    <a:pt x="200" y="754"/>
                  </a:moveTo>
                  <a:lnTo>
                    <a:pt x="202" y="752"/>
                  </a:lnTo>
                  <a:lnTo>
                    <a:pt x="210" y="750"/>
                  </a:lnTo>
                  <a:lnTo>
                    <a:pt x="216" y="742"/>
                  </a:lnTo>
                  <a:lnTo>
                    <a:pt x="218" y="732"/>
                  </a:lnTo>
                  <a:lnTo>
                    <a:pt x="222" y="726"/>
                  </a:lnTo>
                  <a:lnTo>
                    <a:pt x="218" y="710"/>
                  </a:lnTo>
                  <a:lnTo>
                    <a:pt x="222" y="700"/>
                  </a:lnTo>
                  <a:lnTo>
                    <a:pt x="230" y="694"/>
                  </a:lnTo>
                  <a:lnTo>
                    <a:pt x="248" y="686"/>
                  </a:lnTo>
                  <a:lnTo>
                    <a:pt x="252" y="678"/>
                  </a:lnTo>
                  <a:lnTo>
                    <a:pt x="248" y="652"/>
                  </a:lnTo>
                  <a:lnTo>
                    <a:pt x="246" y="646"/>
                  </a:lnTo>
                  <a:lnTo>
                    <a:pt x="246" y="630"/>
                  </a:lnTo>
                  <a:lnTo>
                    <a:pt x="240" y="624"/>
                  </a:lnTo>
                  <a:lnTo>
                    <a:pt x="244" y="612"/>
                  </a:lnTo>
                  <a:lnTo>
                    <a:pt x="248" y="612"/>
                  </a:lnTo>
                  <a:lnTo>
                    <a:pt x="262" y="604"/>
                  </a:lnTo>
                  <a:lnTo>
                    <a:pt x="252" y="580"/>
                  </a:lnTo>
                  <a:lnTo>
                    <a:pt x="246" y="572"/>
                  </a:lnTo>
                  <a:lnTo>
                    <a:pt x="246" y="568"/>
                  </a:lnTo>
                  <a:lnTo>
                    <a:pt x="246" y="548"/>
                  </a:lnTo>
                  <a:lnTo>
                    <a:pt x="254" y="532"/>
                  </a:lnTo>
                  <a:lnTo>
                    <a:pt x="256" y="516"/>
                  </a:lnTo>
                  <a:lnTo>
                    <a:pt x="260" y="496"/>
                  </a:lnTo>
                  <a:lnTo>
                    <a:pt x="256" y="480"/>
                  </a:lnTo>
                  <a:lnTo>
                    <a:pt x="262" y="470"/>
                  </a:lnTo>
                  <a:lnTo>
                    <a:pt x="266" y="462"/>
                  </a:lnTo>
                  <a:lnTo>
                    <a:pt x="282" y="452"/>
                  </a:lnTo>
                  <a:lnTo>
                    <a:pt x="298" y="446"/>
                  </a:lnTo>
                  <a:lnTo>
                    <a:pt x="312" y="452"/>
                  </a:lnTo>
                  <a:lnTo>
                    <a:pt x="316" y="454"/>
                  </a:lnTo>
                  <a:lnTo>
                    <a:pt x="326" y="444"/>
                  </a:lnTo>
                  <a:lnTo>
                    <a:pt x="326" y="430"/>
                  </a:lnTo>
                  <a:lnTo>
                    <a:pt x="316" y="406"/>
                  </a:lnTo>
                  <a:lnTo>
                    <a:pt x="314" y="396"/>
                  </a:lnTo>
                  <a:lnTo>
                    <a:pt x="316" y="390"/>
                  </a:lnTo>
                  <a:lnTo>
                    <a:pt x="322" y="390"/>
                  </a:lnTo>
                  <a:lnTo>
                    <a:pt x="328" y="382"/>
                  </a:lnTo>
                  <a:lnTo>
                    <a:pt x="332" y="366"/>
                  </a:lnTo>
                  <a:lnTo>
                    <a:pt x="334" y="344"/>
                  </a:lnTo>
                  <a:lnTo>
                    <a:pt x="336" y="324"/>
                  </a:lnTo>
                  <a:lnTo>
                    <a:pt x="344" y="314"/>
                  </a:lnTo>
                  <a:lnTo>
                    <a:pt x="362" y="304"/>
                  </a:lnTo>
                  <a:lnTo>
                    <a:pt x="372" y="300"/>
                  </a:lnTo>
                  <a:lnTo>
                    <a:pt x="376" y="284"/>
                  </a:lnTo>
                  <a:lnTo>
                    <a:pt x="380" y="272"/>
                  </a:lnTo>
                  <a:lnTo>
                    <a:pt x="394" y="262"/>
                  </a:lnTo>
                  <a:lnTo>
                    <a:pt x="398" y="254"/>
                  </a:lnTo>
                  <a:lnTo>
                    <a:pt x="394" y="246"/>
                  </a:lnTo>
                  <a:lnTo>
                    <a:pt x="394" y="234"/>
                  </a:lnTo>
                  <a:lnTo>
                    <a:pt x="406" y="226"/>
                  </a:lnTo>
                  <a:lnTo>
                    <a:pt x="418" y="204"/>
                  </a:lnTo>
                  <a:lnTo>
                    <a:pt x="428" y="206"/>
                  </a:lnTo>
                  <a:lnTo>
                    <a:pt x="444" y="192"/>
                  </a:lnTo>
                  <a:lnTo>
                    <a:pt x="442" y="182"/>
                  </a:lnTo>
                  <a:lnTo>
                    <a:pt x="452" y="170"/>
                  </a:lnTo>
                  <a:lnTo>
                    <a:pt x="458" y="174"/>
                  </a:lnTo>
                  <a:lnTo>
                    <a:pt x="470" y="170"/>
                  </a:lnTo>
                  <a:lnTo>
                    <a:pt x="486" y="174"/>
                  </a:lnTo>
                  <a:lnTo>
                    <a:pt x="508" y="154"/>
                  </a:lnTo>
                  <a:lnTo>
                    <a:pt x="504" y="144"/>
                  </a:lnTo>
                  <a:lnTo>
                    <a:pt x="508" y="138"/>
                  </a:lnTo>
                  <a:lnTo>
                    <a:pt x="502" y="136"/>
                  </a:lnTo>
                  <a:lnTo>
                    <a:pt x="514" y="126"/>
                  </a:lnTo>
                  <a:lnTo>
                    <a:pt x="530" y="124"/>
                  </a:lnTo>
                  <a:lnTo>
                    <a:pt x="540" y="138"/>
                  </a:lnTo>
                  <a:lnTo>
                    <a:pt x="560" y="160"/>
                  </a:lnTo>
                  <a:lnTo>
                    <a:pt x="568" y="160"/>
                  </a:lnTo>
                  <a:lnTo>
                    <a:pt x="578" y="152"/>
                  </a:lnTo>
                  <a:lnTo>
                    <a:pt x="586" y="150"/>
                  </a:lnTo>
                  <a:lnTo>
                    <a:pt x="592" y="152"/>
                  </a:lnTo>
                  <a:lnTo>
                    <a:pt x="600" y="160"/>
                  </a:lnTo>
                  <a:lnTo>
                    <a:pt x="612" y="162"/>
                  </a:lnTo>
                  <a:lnTo>
                    <a:pt x="614" y="160"/>
                  </a:lnTo>
                  <a:lnTo>
                    <a:pt x="620" y="150"/>
                  </a:lnTo>
                  <a:lnTo>
                    <a:pt x="622" y="144"/>
                  </a:lnTo>
                  <a:lnTo>
                    <a:pt x="634" y="126"/>
                  </a:lnTo>
                  <a:lnTo>
                    <a:pt x="636" y="124"/>
                  </a:lnTo>
                  <a:lnTo>
                    <a:pt x="634" y="96"/>
                  </a:lnTo>
                  <a:lnTo>
                    <a:pt x="648" y="84"/>
                  </a:lnTo>
                  <a:lnTo>
                    <a:pt x="652" y="86"/>
                  </a:lnTo>
                  <a:lnTo>
                    <a:pt x="668" y="70"/>
                  </a:lnTo>
                  <a:lnTo>
                    <a:pt x="682" y="86"/>
                  </a:lnTo>
                  <a:lnTo>
                    <a:pt x="688" y="92"/>
                  </a:lnTo>
                  <a:lnTo>
                    <a:pt x="696" y="88"/>
                  </a:lnTo>
                  <a:lnTo>
                    <a:pt x="702" y="96"/>
                  </a:lnTo>
                  <a:lnTo>
                    <a:pt x="702" y="102"/>
                  </a:lnTo>
                  <a:lnTo>
                    <a:pt x="708" y="108"/>
                  </a:lnTo>
                  <a:lnTo>
                    <a:pt x="708" y="116"/>
                  </a:lnTo>
                  <a:lnTo>
                    <a:pt x="716" y="104"/>
                  </a:lnTo>
                  <a:lnTo>
                    <a:pt x="730" y="94"/>
                  </a:lnTo>
                  <a:lnTo>
                    <a:pt x="738" y="78"/>
                  </a:lnTo>
                  <a:lnTo>
                    <a:pt x="732" y="76"/>
                  </a:lnTo>
                  <a:lnTo>
                    <a:pt x="724" y="84"/>
                  </a:lnTo>
                  <a:lnTo>
                    <a:pt x="722" y="70"/>
                  </a:lnTo>
                  <a:lnTo>
                    <a:pt x="716" y="68"/>
                  </a:lnTo>
                  <a:lnTo>
                    <a:pt x="714" y="60"/>
                  </a:lnTo>
                  <a:lnTo>
                    <a:pt x="734" y="42"/>
                  </a:lnTo>
                  <a:lnTo>
                    <a:pt x="744" y="46"/>
                  </a:lnTo>
                  <a:lnTo>
                    <a:pt x="746" y="34"/>
                  </a:lnTo>
                  <a:lnTo>
                    <a:pt x="740" y="32"/>
                  </a:lnTo>
                  <a:lnTo>
                    <a:pt x="726" y="28"/>
                  </a:lnTo>
                  <a:lnTo>
                    <a:pt x="718" y="24"/>
                  </a:lnTo>
                  <a:lnTo>
                    <a:pt x="708" y="14"/>
                  </a:lnTo>
                  <a:lnTo>
                    <a:pt x="696" y="12"/>
                  </a:lnTo>
                  <a:lnTo>
                    <a:pt x="684" y="22"/>
                  </a:lnTo>
                  <a:lnTo>
                    <a:pt x="680" y="30"/>
                  </a:lnTo>
                  <a:lnTo>
                    <a:pt x="668" y="22"/>
                  </a:lnTo>
                  <a:lnTo>
                    <a:pt x="674" y="16"/>
                  </a:lnTo>
                  <a:lnTo>
                    <a:pt x="676" y="4"/>
                  </a:lnTo>
                  <a:lnTo>
                    <a:pt x="674" y="0"/>
                  </a:lnTo>
                  <a:lnTo>
                    <a:pt x="660" y="0"/>
                  </a:lnTo>
                  <a:lnTo>
                    <a:pt x="658" y="6"/>
                  </a:lnTo>
                  <a:lnTo>
                    <a:pt x="656" y="14"/>
                  </a:lnTo>
                  <a:lnTo>
                    <a:pt x="658" y="22"/>
                  </a:lnTo>
                  <a:lnTo>
                    <a:pt x="648" y="32"/>
                  </a:lnTo>
                  <a:lnTo>
                    <a:pt x="638" y="16"/>
                  </a:lnTo>
                  <a:lnTo>
                    <a:pt x="630" y="20"/>
                  </a:lnTo>
                  <a:lnTo>
                    <a:pt x="628" y="32"/>
                  </a:lnTo>
                  <a:lnTo>
                    <a:pt x="622" y="50"/>
                  </a:lnTo>
                  <a:lnTo>
                    <a:pt x="608" y="64"/>
                  </a:lnTo>
                  <a:lnTo>
                    <a:pt x="600" y="48"/>
                  </a:lnTo>
                  <a:lnTo>
                    <a:pt x="614" y="38"/>
                  </a:lnTo>
                  <a:lnTo>
                    <a:pt x="618" y="22"/>
                  </a:lnTo>
                  <a:lnTo>
                    <a:pt x="608" y="22"/>
                  </a:lnTo>
                  <a:lnTo>
                    <a:pt x="594" y="22"/>
                  </a:lnTo>
                  <a:lnTo>
                    <a:pt x="584" y="38"/>
                  </a:lnTo>
                  <a:lnTo>
                    <a:pt x="570" y="60"/>
                  </a:lnTo>
                  <a:lnTo>
                    <a:pt x="576" y="70"/>
                  </a:lnTo>
                  <a:lnTo>
                    <a:pt x="568" y="76"/>
                  </a:lnTo>
                  <a:lnTo>
                    <a:pt x="556" y="68"/>
                  </a:lnTo>
                  <a:lnTo>
                    <a:pt x="546" y="72"/>
                  </a:lnTo>
                  <a:lnTo>
                    <a:pt x="548" y="84"/>
                  </a:lnTo>
                  <a:lnTo>
                    <a:pt x="536" y="84"/>
                  </a:lnTo>
                  <a:lnTo>
                    <a:pt x="526" y="86"/>
                  </a:lnTo>
                  <a:lnTo>
                    <a:pt x="516" y="100"/>
                  </a:lnTo>
                  <a:lnTo>
                    <a:pt x="502" y="96"/>
                  </a:lnTo>
                  <a:lnTo>
                    <a:pt x="502" y="104"/>
                  </a:lnTo>
                  <a:lnTo>
                    <a:pt x="490" y="96"/>
                  </a:lnTo>
                  <a:lnTo>
                    <a:pt x="478" y="102"/>
                  </a:lnTo>
                  <a:lnTo>
                    <a:pt x="474" y="112"/>
                  </a:lnTo>
                  <a:lnTo>
                    <a:pt x="464" y="116"/>
                  </a:lnTo>
                  <a:lnTo>
                    <a:pt x="456" y="104"/>
                  </a:lnTo>
                  <a:lnTo>
                    <a:pt x="440" y="108"/>
                  </a:lnTo>
                  <a:lnTo>
                    <a:pt x="424" y="112"/>
                  </a:lnTo>
                  <a:lnTo>
                    <a:pt x="424" y="128"/>
                  </a:lnTo>
                  <a:lnTo>
                    <a:pt x="434" y="132"/>
                  </a:lnTo>
                  <a:lnTo>
                    <a:pt x="434" y="136"/>
                  </a:lnTo>
                  <a:lnTo>
                    <a:pt x="434" y="146"/>
                  </a:lnTo>
                  <a:lnTo>
                    <a:pt x="426" y="144"/>
                  </a:lnTo>
                  <a:lnTo>
                    <a:pt x="416" y="150"/>
                  </a:lnTo>
                  <a:lnTo>
                    <a:pt x="418" y="160"/>
                  </a:lnTo>
                  <a:lnTo>
                    <a:pt x="428" y="168"/>
                  </a:lnTo>
                  <a:lnTo>
                    <a:pt x="428" y="182"/>
                  </a:lnTo>
                  <a:lnTo>
                    <a:pt x="418" y="176"/>
                  </a:lnTo>
                  <a:lnTo>
                    <a:pt x="410" y="178"/>
                  </a:lnTo>
                  <a:lnTo>
                    <a:pt x="410" y="190"/>
                  </a:lnTo>
                  <a:lnTo>
                    <a:pt x="398" y="190"/>
                  </a:lnTo>
                  <a:lnTo>
                    <a:pt x="386" y="190"/>
                  </a:lnTo>
                  <a:lnTo>
                    <a:pt x="384" y="198"/>
                  </a:lnTo>
                  <a:lnTo>
                    <a:pt x="380" y="204"/>
                  </a:lnTo>
                  <a:lnTo>
                    <a:pt x="372" y="206"/>
                  </a:lnTo>
                  <a:lnTo>
                    <a:pt x="370" y="212"/>
                  </a:lnTo>
                  <a:lnTo>
                    <a:pt x="372" y="218"/>
                  </a:lnTo>
                  <a:lnTo>
                    <a:pt x="356" y="224"/>
                  </a:lnTo>
                  <a:lnTo>
                    <a:pt x="368" y="234"/>
                  </a:lnTo>
                  <a:lnTo>
                    <a:pt x="370" y="240"/>
                  </a:lnTo>
                  <a:lnTo>
                    <a:pt x="358" y="248"/>
                  </a:lnTo>
                  <a:lnTo>
                    <a:pt x="340" y="262"/>
                  </a:lnTo>
                  <a:lnTo>
                    <a:pt x="326" y="272"/>
                  </a:lnTo>
                  <a:lnTo>
                    <a:pt x="316" y="288"/>
                  </a:lnTo>
                  <a:lnTo>
                    <a:pt x="302" y="300"/>
                  </a:lnTo>
                  <a:lnTo>
                    <a:pt x="302" y="306"/>
                  </a:lnTo>
                  <a:lnTo>
                    <a:pt x="306" y="314"/>
                  </a:lnTo>
                  <a:lnTo>
                    <a:pt x="294" y="324"/>
                  </a:lnTo>
                  <a:lnTo>
                    <a:pt x="298" y="334"/>
                  </a:lnTo>
                  <a:lnTo>
                    <a:pt x="286" y="352"/>
                  </a:lnTo>
                  <a:lnTo>
                    <a:pt x="278" y="356"/>
                  </a:lnTo>
                  <a:lnTo>
                    <a:pt x="278" y="370"/>
                  </a:lnTo>
                  <a:lnTo>
                    <a:pt x="284" y="376"/>
                  </a:lnTo>
                  <a:lnTo>
                    <a:pt x="276" y="384"/>
                  </a:lnTo>
                  <a:lnTo>
                    <a:pt x="270" y="380"/>
                  </a:lnTo>
                  <a:lnTo>
                    <a:pt x="260" y="384"/>
                  </a:lnTo>
                  <a:lnTo>
                    <a:pt x="262" y="400"/>
                  </a:lnTo>
                  <a:lnTo>
                    <a:pt x="252" y="406"/>
                  </a:lnTo>
                  <a:lnTo>
                    <a:pt x="236" y="408"/>
                  </a:lnTo>
                  <a:lnTo>
                    <a:pt x="224" y="422"/>
                  </a:lnTo>
                  <a:lnTo>
                    <a:pt x="222" y="436"/>
                  </a:lnTo>
                  <a:lnTo>
                    <a:pt x="210" y="446"/>
                  </a:lnTo>
                  <a:lnTo>
                    <a:pt x="210" y="454"/>
                  </a:lnTo>
                  <a:lnTo>
                    <a:pt x="224" y="444"/>
                  </a:lnTo>
                  <a:lnTo>
                    <a:pt x="240" y="432"/>
                  </a:lnTo>
                  <a:lnTo>
                    <a:pt x="246" y="436"/>
                  </a:lnTo>
                  <a:lnTo>
                    <a:pt x="240" y="452"/>
                  </a:lnTo>
                  <a:lnTo>
                    <a:pt x="228" y="460"/>
                  </a:lnTo>
                  <a:lnTo>
                    <a:pt x="214" y="458"/>
                  </a:lnTo>
                  <a:lnTo>
                    <a:pt x="216" y="468"/>
                  </a:lnTo>
                  <a:lnTo>
                    <a:pt x="196" y="476"/>
                  </a:lnTo>
                  <a:lnTo>
                    <a:pt x="194" y="460"/>
                  </a:lnTo>
                  <a:lnTo>
                    <a:pt x="186" y="454"/>
                  </a:lnTo>
                  <a:lnTo>
                    <a:pt x="174" y="470"/>
                  </a:lnTo>
                  <a:lnTo>
                    <a:pt x="164" y="470"/>
                  </a:lnTo>
                  <a:lnTo>
                    <a:pt x="152" y="472"/>
                  </a:lnTo>
                  <a:lnTo>
                    <a:pt x="150" y="486"/>
                  </a:lnTo>
                  <a:lnTo>
                    <a:pt x="144" y="488"/>
                  </a:lnTo>
                  <a:lnTo>
                    <a:pt x="144" y="496"/>
                  </a:lnTo>
                  <a:lnTo>
                    <a:pt x="138" y="494"/>
                  </a:lnTo>
                  <a:lnTo>
                    <a:pt x="128" y="488"/>
                  </a:lnTo>
                  <a:lnTo>
                    <a:pt x="114" y="488"/>
                  </a:lnTo>
                  <a:lnTo>
                    <a:pt x="114" y="496"/>
                  </a:lnTo>
                  <a:lnTo>
                    <a:pt x="114" y="504"/>
                  </a:lnTo>
                  <a:lnTo>
                    <a:pt x="110" y="506"/>
                  </a:lnTo>
                  <a:lnTo>
                    <a:pt x="96" y="500"/>
                  </a:lnTo>
                  <a:lnTo>
                    <a:pt x="84" y="510"/>
                  </a:lnTo>
                  <a:lnTo>
                    <a:pt x="86" y="516"/>
                  </a:lnTo>
                  <a:lnTo>
                    <a:pt x="84" y="522"/>
                  </a:lnTo>
                  <a:lnTo>
                    <a:pt x="72" y="516"/>
                  </a:lnTo>
                  <a:lnTo>
                    <a:pt x="68" y="524"/>
                  </a:lnTo>
                  <a:lnTo>
                    <a:pt x="64" y="530"/>
                  </a:lnTo>
                  <a:lnTo>
                    <a:pt x="50" y="526"/>
                  </a:lnTo>
                  <a:lnTo>
                    <a:pt x="42" y="528"/>
                  </a:lnTo>
                  <a:lnTo>
                    <a:pt x="40" y="538"/>
                  </a:lnTo>
                  <a:lnTo>
                    <a:pt x="34" y="542"/>
                  </a:lnTo>
                  <a:lnTo>
                    <a:pt x="26" y="554"/>
                  </a:lnTo>
                  <a:lnTo>
                    <a:pt x="28" y="568"/>
                  </a:lnTo>
                  <a:lnTo>
                    <a:pt x="24" y="590"/>
                  </a:lnTo>
                  <a:lnTo>
                    <a:pt x="20" y="612"/>
                  </a:lnTo>
                  <a:lnTo>
                    <a:pt x="18" y="632"/>
                  </a:lnTo>
                  <a:lnTo>
                    <a:pt x="14" y="642"/>
                  </a:lnTo>
                  <a:lnTo>
                    <a:pt x="22" y="652"/>
                  </a:lnTo>
                  <a:lnTo>
                    <a:pt x="34" y="644"/>
                  </a:lnTo>
                  <a:lnTo>
                    <a:pt x="42" y="648"/>
                  </a:lnTo>
                  <a:lnTo>
                    <a:pt x="42" y="656"/>
                  </a:lnTo>
                  <a:lnTo>
                    <a:pt x="30" y="662"/>
                  </a:lnTo>
                  <a:lnTo>
                    <a:pt x="28" y="676"/>
                  </a:lnTo>
                  <a:lnTo>
                    <a:pt x="26" y="682"/>
                  </a:lnTo>
                  <a:lnTo>
                    <a:pt x="14" y="680"/>
                  </a:lnTo>
                  <a:lnTo>
                    <a:pt x="10" y="696"/>
                  </a:lnTo>
                  <a:lnTo>
                    <a:pt x="14" y="700"/>
                  </a:lnTo>
                  <a:lnTo>
                    <a:pt x="26" y="698"/>
                  </a:lnTo>
                  <a:lnTo>
                    <a:pt x="32" y="706"/>
                  </a:lnTo>
                  <a:lnTo>
                    <a:pt x="32" y="708"/>
                  </a:lnTo>
                  <a:lnTo>
                    <a:pt x="24" y="714"/>
                  </a:lnTo>
                  <a:lnTo>
                    <a:pt x="24" y="724"/>
                  </a:lnTo>
                  <a:lnTo>
                    <a:pt x="14" y="726"/>
                  </a:lnTo>
                  <a:lnTo>
                    <a:pt x="6" y="722"/>
                  </a:lnTo>
                  <a:lnTo>
                    <a:pt x="8" y="734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16" y="760"/>
                  </a:lnTo>
                  <a:lnTo>
                    <a:pt x="24" y="770"/>
                  </a:lnTo>
                  <a:lnTo>
                    <a:pt x="28" y="782"/>
                  </a:lnTo>
                  <a:lnTo>
                    <a:pt x="44" y="792"/>
                  </a:lnTo>
                  <a:lnTo>
                    <a:pt x="62" y="802"/>
                  </a:lnTo>
                  <a:lnTo>
                    <a:pt x="80" y="802"/>
                  </a:lnTo>
                  <a:lnTo>
                    <a:pt x="104" y="786"/>
                  </a:lnTo>
                  <a:lnTo>
                    <a:pt x="128" y="768"/>
                  </a:lnTo>
                  <a:lnTo>
                    <a:pt x="150" y="738"/>
                  </a:lnTo>
                  <a:lnTo>
                    <a:pt x="154" y="736"/>
                  </a:lnTo>
                  <a:lnTo>
                    <a:pt x="160" y="746"/>
                  </a:lnTo>
                  <a:lnTo>
                    <a:pt x="172" y="738"/>
                  </a:lnTo>
                  <a:lnTo>
                    <a:pt x="174" y="728"/>
                  </a:lnTo>
                  <a:lnTo>
                    <a:pt x="176" y="714"/>
                  </a:lnTo>
                  <a:lnTo>
                    <a:pt x="188" y="698"/>
                  </a:lnTo>
                  <a:lnTo>
                    <a:pt x="182" y="716"/>
                  </a:lnTo>
                  <a:lnTo>
                    <a:pt x="188" y="720"/>
                  </a:lnTo>
                  <a:lnTo>
                    <a:pt x="186" y="728"/>
                  </a:lnTo>
                  <a:lnTo>
                    <a:pt x="188" y="742"/>
                  </a:lnTo>
                  <a:lnTo>
                    <a:pt x="194" y="754"/>
                  </a:lnTo>
                  <a:lnTo>
                    <a:pt x="200" y="750"/>
                  </a:lnTo>
                  <a:lnTo>
                    <a:pt x="200" y="75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38" name="Freeform 132"/>
            <p:cNvSpPr>
              <a:spLocks/>
            </p:cNvSpPr>
            <p:nvPr/>
          </p:nvSpPr>
          <p:spPr bwMode="auto">
            <a:xfrm>
              <a:off x="1800006" y="1462186"/>
              <a:ext cx="513386" cy="582743"/>
            </a:xfrm>
            <a:custGeom>
              <a:avLst/>
              <a:gdLst>
                <a:gd name="T0" fmla="*/ 218 w 746"/>
                <a:gd name="T1" fmla="*/ 732 h 802"/>
                <a:gd name="T2" fmla="*/ 248 w 746"/>
                <a:gd name="T3" fmla="*/ 686 h 802"/>
                <a:gd name="T4" fmla="*/ 240 w 746"/>
                <a:gd name="T5" fmla="*/ 624 h 802"/>
                <a:gd name="T6" fmla="*/ 246 w 746"/>
                <a:gd name="T7" fmla="*/ 572 h 802"/>
                <a:gd name="T8" fmla="*/ 260 w 746"/>
                <a:gd name="T9" fmla="*/ 496 h 802"/>
                <a:gd name="T10" fmla="*/ 298 w 746"/>
                <a:gd name="T11" fmla="*/ 446 h 802"/>
                <a:gd name="T12" fmla="*/ 316 w 746"/>
                <a:gd name="T13" fmla="*/ 406 h 802"/>
                <a:gd name="T14" fmla="*/ 332 w 746"/>
                <a:gd name="T15" fmla="*/ 366 h 802"/>
                <a:gd name="T16" fmla="*/ 372 w 746"/>
                <a:gd name="T17" fmla="*/ 300 h 802"/>
                <a:gd name="T18" fmla="*/ 394 w 746"/>
                <a:gd name="T19" fmla="*/ 246 h 802"/>
                <a:gd name="T20" fmla="*/ 444 w 746"/>
                <a:gd name="T21" fmla="*/ 192 h 802"/>
                <a:gd name="T22" fmla="*/ 486 w 746"/>
                <a:gd name="T23" fmla="*/ 174 h 802"/>
                <a:gd name="T24" fmla="*/ 514 w 746"/>
                <a:gd name="T25" fmla="*/ 126 h 802"/>
                <a:gd name="T26" fmla="*/ 578 w 746"/>
                <a:gd name="T27" fmla="*/ 152 h 802"/>
                <a:gd name="T28" fmla="*/ 614 w 746"/>
                <a:gd name="T29" fmla="*/ 160 h 802"/>
                <a:gd name="T30" fmla="*/ 634 w 746"/>
                <a:gd name="T31" fmla="*/ 96 h 802"/>
                <a:gd name="T32" fmla="*/ 688 w 746"/>
                <a:gd name="T33" fmla="*/ 92 h 802"/>
                <a:gd name="T34" fmla="*/ 708 w 746"/>
                <a:gd name="T35" fmla="*/ 116 h 802"/>
                <a:gd name="T36" fmla="*/ 724 w 746"/>
                <a:gd name="T37" fmla="*/ 84 h 802"/>
                <a:gd name="T38" fmla="*/ 744 w 746"/>
                <a:gd name="T39" fmla="*/ 46 h 802"/>
                <a:gd name="T40" fmla="*/ 708 w 746"/>
                <a:gd name="T41" fmla="*/ 14 h 802"/>
                <a:gd name="T42" fmla="*/ 674 w 746"/>
                <a:gd name="T43" fmla="*/ 16 h 802"/>
                <a:gd name="T44" fmla="*/ 656 w 746"/>
                <a:gd name="T45" fmla="*/ 14 h 802"/>
                <a:gd name="T46" fmla="*/ 628 w 746"/>
                <a:gd name="T47" fmla="*/ 32 h 802"/>
                <a:gd name="T48" fmla="*/ 618 w 746"/>
                <a:gd name="T49" fmla="*/ 22 h 802"/>
                <a:gd name="T50" fmla="*/ 576 w 746"/>
                <a:gd name="T51" fmla="*/ 70 h 802"/>
                <a:gd name="T52" fmla="*/ 536 w 746"/>
                <a:gd name="T53" fmla="*/ 84 h 802"/>
                <a:gd name="T54" fmla="*/ 490 w 746"/>
                <a:gd name="T55" fmla="*/ 96 h 802"/>
                <a:gd name="T56" fmla="*/ 440 w 746"/>
                <a:gd name="T57" fmla="*/ 108 h 802"/>
                <a:gd name="T58" fmla="*/ 434 w 746"/>
                <a:gd name="T59" fmla="*/ 146 h 802"/>
                <a:gd name="T60" fmla="*/ 428 w 746"/>
                <a:gd name="T61" fmla="*/ 182 h 802"/>
                <a:gd name="T62" fmla="*/ 386 w 746"/>
                <a:gd name="T63" fmla="*/ 190 h 802"/>
                <a:gd name="T64" fmla="*/ 372 w 746"/>
                <a:gd name="T65" fmla="*/ 218 h 802"/>
                <a:gd name="T66" fmla="*/ 340 w 746"/>
                <a:gd name="T67" fmla="*/ 262 h 802"/>
                <a:gd name="T68" fmla="*/ 306 w 746"/>
                <a:gd name="T69" fmla="*/ 314 h 802"/>
                <a:gd name="T70" fmla="*/ 278 w 746"/>
                <a:gd name="T71" fmla="*/ 370 h 802"/>
                <a:gd name="T72" fmla="*/ 262 w 746"/>
                <a:gd name="T73" fmla="*/ 400 h 802"/>
                <a:gd name="T74" fmla="*/ 210 w 746"/>
                <a:gd name="T75" fmla="*/ 446 h 802"/>
                <a:gd name="T76" fmla="*/ 240 w 746"/>
                <a:gd name="T77" fmla="*/ 452 h 802"/>
                <a:gd name="T78" fmla="*/ 194 w 746"/>
                <a:gd name="T79" fmla="*/ 460 h 802"/>
                <a:gd name="T80" fmla="*/ 150 w 746"/>
                <a:gd name="T81" fmla="*/ 486 h 802"/>
                <a:gd name="T82" fmla="*/ 114 w 746"/>
                <a:gd name="T83" fmla="*/ 488 h 802"/>
                <a:gd name="T84" fmla="*/ 84 w 746"/>
                <a:gd name="T85" fmla="*/ 510 h 802"/>
                <a:gd name="T86" fmla="*/ 64 w 746"/>
                <a:gd name="T87" fmla="*/ 530 h 802"/>
                <a:gd name="T88" fmla="*/ 26 w 746"/>
                <a:gd name="T89" fmla="*/ 554 h 802"/>
                <a:gd name="T90" fmla="*/ 14 w 746"/>
                <a:gd name="T91" fmla="*/ 642 h 802"/>
                <a:gd name="T92" fmla="*/ 30 w 746"/>
                <a:gd name="T93" fmla="*/ 662 h 802"/>
                <a:gd name="T94" fmla="*/ 14 w 746"/>
                <a:gd name="T95" fmla="*/ 700 h 802"/>
                <a:gd name="T96" fmla="*/ 24 w 746"/>
                <a:gd name="T97" fmla="*/ 724 h 802"/>
                <a:gd name="T98" fmla="*/ 0 w 746"/>
                <a:gd name="T99" fmla="*/ 744 h 802"/>
                <a:gd name="T100" fmla="*/ 62 w 746"/>
                <a:gd name="T101" fmla="*/ 802 h 802"/>
                <a:gd name="T102" fmla="*/ 154 w 746"/>
                <a:gd name="T103" fmla="*/ 736 h 802"/>
                <a:gd name="T104" fmla="*/ 188 w 746"/>
                <a:gd name="T105" fmla="*/ 698 h 802"/>
                <a:gd name="T106" fmla="*/ 194 w 746"/>
                <a:gd name="T107" fmla="*/ 754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46" h="802">
                  <a:moveTo>
                    <a:pt x="200" y="754"/>
                  </a:moveTo>
                  <a:lnTo>
                    <a:pt x="202" y="752"/>
                  </a:lnTo>
                  <a:lnTo>
                    <a:pt x="210" y="750"/>
                  </a:lnTo>
                  <a:lnTo>
                    <a:pt x="216" y="742"/>
                  </a:lnTo>
                  <a:lnTo>
                    <a:pt x="218" y="732"/>
                  </a:lnTo>
                  <a:lnTo>
                    <a:pt x="222" y="726"/>
                  </a:lnTo>
                  <a:lnTo>
                    <a:pt x="218" y="710"/>
                  </a:lnTo>
                  <a:lnTo>
                    <a:pt x="222" y="700"/>
                  </a:lnTo>
                  <a:lnTo>
                    <a:pt x="230" y="694"/>
                  </a:lnTo>
                  <a:lnTo>
                    <a:pt x="248" y="686"/>
                  </a:lnTo>
                  <a:lnTo>
                    <a:pt x="252" y="678"/>
                  </a:lnTo>
                  <a:lnTo>
                    <a:pt x="248" y="652"/>
                  </a:lnTo>
                  <a:lnTo>
                    <a:pt x="246" y="646"/>
                  </a:lnTo>
                  <a:lnTo>
                    <a:pt x="246" y="630"/>
                  </a:lnTo>
                  <a:lnTo>
                    <a:pt x="240" y="624"/>
                  </a:lnTo>
                  <a:lnTo>
                    <a:pt x="244" y="612"/>
                  </a:lnTo>
                  <a:lnTo>
                    <a:pt x="248" y="612"/>
                  </a:lnTo>
                  <a:lnTo>
                    <a:pt x="262" y="604"/>
                  </a:lnTo>
                  <a:lnTo>
                    <a:pt x="252" y="580"/>
                  </a:lnTo>
                  <a:lnTo>
                    <a:pt x="246" y="572"/>
                  </a:lnTo>
                  <a:lnTo>
                    <a:pt x="246" y="568"/>
                  </a:lnTo>
                  <a:lnTo>
                    <a:pt x="246" y="548"/>
                  </a:lnTo>
                  <a:lnTo>
                    <a:pt x="254" y="532"/>
                  </a:lnTo>
                  <a:lnTo>
                    <a:pt x="256" y="516"/>
                  </a:lnTo>
                  <a:lnTo>
                    <a:pt x="260" y="496"/>
                  </a:lnTo>
                  <a:lnTo>
                    <a:pt x="256" y="480"/>
                  </a:lnTo>
                  <a:lnTo>
                    <a:pt x="262" y="470"/>
                  </a:lnTo>
                  <a:lnTo>
                    <a:pt x="266" y="462"/>
                  </a:lnTo>
                  <a:lnTo>
                    <a:pt x="282" y="452"/>
                  </a:lnTo>
                  <a:lnTo>
                    <a:pt x="298" y="446"/>
                  </a:lnTo>
                  <a:lnTo>
                    <a:pt x="312" y="452"/>
                  </a:lnTo>
                  <a:lnTo>
                    <a:pt x="316" y="454"/>
                  </a:lnTo>
                  <a:lnTo>
                    <a:pt x="326" y="444"/>
                  </a:lnTo>
                  <a:lnTo>
                    <a:pt x="326" y="430"/>
                  </a:lnTo>
                  <a:lnTo>
                    <a:pt x="316" y="406"/>
                  </a:lnTo>
                  <a:lnTo>
                    <a:pt x="314" y="396"/>
                  </a:lnTo>
                  <a:lnTo>
                    <a:pt x="316" y="390"/>
                  </a:lnTo>
                  <a:lnTo>
                    <a:pt x="322" y="390"/>
                  </a:lnTo>
                  <a:lnTo>
                    <a:pt x="328" y="382"/>
                  </a:lnTo>
                  <a:lnTo>
                    <a:pt x="332" y="366"/>
                  </a:lnTo>
                  <a:lnTo>
                    <a:pt x="334" y="344"/>
                  </a:lnTo>
                  <a:lnTo>
                    <a:pt x="336" y="324"/>
                  </a:lnTo>
                  <a:lnTo>
                    <a:pt x="344" y="314"/>
                  </a:lnTo>
                  <a:lnTo>
                    <a:pt x="362" y="304"/>
                  </a:lnTo>
                  <a:lnTo>
                    <a:pt x="372" y="300"/>
                  </a:lnTo>
                  <a:lnTo>
                    <a:pt x="376" y="284"/>
                  </a:lnTo>
                  <a:lnTo>
                    <a:pt x="380" y="272"/>
                  </a:lnTo>
                  <a:lnTo>
                    <a:pt x="394" y="262"/>
                  </a:lnTo>
                  <a:lnTo>
                    <a:pt x="398" y="254"/>
                  </a:lnTo>
                  <a:lnTo>
                    <a:pt x="394" y="246"/>
                  </a:lnTo>
                  <a:lnTo>
                    <a:pt x="394" y="234"/>
                  </a:lnTo>
                  <a:lnTo>
                    <a:pt x="406" y="226"/>
                  </a:lnTo>
                  <a:lnTo>
                    <a:pt x="418" y="204"/>
                  </a:lnTo>
                  <a:lnTo>
                    <a:pt x="428" y="206"/>
                  </a:lnTo>
                  <a:lnTo>
                    <a:pt x="444" y="192"/>
                  </a:lnTo>
                  <a:lnTo>
                    <a:pt x="442" y="182"/>
                  </a:lnTo>
                  <a:lnTo>
                    <a:pt x="452" y="170"/>
                  </a:lnTo>
                  <a:lnTo>
                    <a:pt x="458" y="174"/>
                  </a:lnTo>
                  <a:lnTo>
                    <a:pt x="470" y="170"/>
                  </a:lnTo>
                  <a:lnTo>
                    <a:pt x="486" y="174"/>
                  </a:lnTo>
                  <a:lnTo>
                    <a:pt x="508" y="154"/>
                  </a:lnTo>
                  <a:lnTo>
                    <a:pt x="504" y="144"/>
                  </a:lnTo>
                  <a:lnTo>
                    <a:pt x="508" y="138"/>
                  </a:lnTo>
                  <a:lnTo>
                    <a:pt x="502" y="136"/>
                  </a:lnTo>
                  <a:lnTo>
                    <a:pt x="514" y="126"/>
                  </a:lnTo>
                  <a:lnTo>
                    <a:pt x="530" y="124"/>
                  </a:lnTo>
                  <a:lnTo>
                    <a:pt x="540" y="138"/>
                  </a:lnTo>
                  <a:lnTo>
                    <a:pt x="560" y="160"/>
                  </a:lnTo>
                  <a:lnTo>
                    <a:pt x="568" y="160"/>
                  </a:lnTo>
                  <a:lnTo>
                    <a:pt x="578" y="152"/>
                  </a:lnTo>
                  <a:lnTo>
                    <a:pt x="586" y="150"/>
                  </a:lnTo>
                  <a:lnTo>
                    <a:pt x="592" y="152"/>
                  </a:lnTo>
                  <a:lnTo>
                    <a:pt x="600" y="160"/>
                  </a:lnTo>
                  <a:lnTo>
                    <a:pt x="612" y="162"/>
                  </a:lnTo>
                  <a:lnTo>
                    <a:pt x="614" y="160"/>
                  </a:lnTo>
                  <a:lnTo>
                    <a:pt x="620" y="150"/>
                  </a:lnTo>
                  <a:lnTo>
                    <a:pt x="622" y="144"/>
                  </a:lnTo>
                  <a:lnTo>
                    <a:pt x="634" y="126"/>
                  </a:lnTo>
                  <a:lnTo>
                    <a:pt x="636" y="124"/>
                  </a:lnTo>
                  <a:lnTo>
                    <a:pt x="634" y="96"/>
                  </a:lnTo>
                  <a:lnTo>
                    <a:pt x="648" y="84"/>
                  </a:lnTo>
                  <a:lnTo>
                    <a:pt x="652" y="86"/>
                  </a:lnTo>
                  <a:lnTo>
                    <a:pt x="668" y="70"/>
                  </a:lnTo>
                  <a:lnTo>
                    <a:pt x="682" y="86"/>
                  </a:lnTo>
                  <a:lnTo>
                    <a:pt x="688" y="92"/>
                  </a:lnTo>
                  <a:lnTo>
                    <a:pt x="696" y="88"/>
                  </a:lnTo>
                  <a:lnTo>
                    <a:pt x="702" y="96"/>
                  </a:lnTo>
                  <a:lnTo>
                    <a:pt x="702" y="102"/>
                  </a:lnTo>
                  <a:lnTo>
                    <a:pt x="708" y="108"/>
                  </a:lnTo>
                  <a:lnTo>
                    <a:pt x="708" y="116"/>
                  </a:lnTo>
                  <a:lnTo>
                    <a:pt x="716" y="104"/>
                  </a:lnTo>
                  <a:lnTo>
                    <a:pt x="730" y="94"/>
                  </a:lnTo>
                  <a:lnTo>
                    <a:pt x="738" y="78"/>
                  </a:lnTo>
                  <a:lnTo>
                    <a:pt x="732" y="76"/>
                  </a:lnTo>
                  <a:lnTo>
                    <a:pt x="724" y="84"/>
                  </a:lnTo>
                  <a:lnTo>
                    <a:pt x="722" y="70"/>
                  </a:lnTo>
                  <a:lnTo>
                    <a:pt x="716" y="68"/>
                  </a:lnTo>
                  <a:lnTo>
                    <a:pt x="714" y="60"/>
                  </a:lnTo>
                  <a:lnTo>
                    <a:pt x="734" y="42"/>
                  </a:lnTo>
                  <a:lnTo>
                    <a:pt x="744" y="46"/>
                  </a:lnTo>
                  <a:lnTo>
                    <a:pt x="746" y="34"/>
                  </a:lnTo>
                  <a:lnTo>
                    <a:pt x="740" y="32"/>
                  </a:lnTo>
                  <a:lnTo>
                    <a:pt x="726" y="28"/>
                  </a:lnTo>
                  <a:lnTo>
                    <a:pt x="718" y="24"/>
                  </a:lnTo>
                  <a:lnTo>
                    <a:pt x="708" y="14"/>
                  </a:lnTo>
                  <a:lnTo>
                    <a:pt x="696" y="12"/>
                  </a:lnTo>
                  <a:lnTo>
                    <a:pt x="684" y="22"/>
                  </a:lnTo>
                  <a:lnTo>
                    <a:pt x="680" y="30"/>
                  </a:lnTo>
                  <a:lnTo>
                    <a:pt x="668" y="22"/>
                  </a:lnTo>
                  <a:lnTo>
                    <a:pt x="674" y="16"/>
                  </a:lnTo>
                  <a:lnTo>
                    <a:pt x="676" y="4"/>
                  </a:lnTo>
                  <a:lnTo>
                    <a:pt x="674" y="0"/>
                  </a:lnTo>
                  <a:lnTo>
                    <a:pt x="660" y="0"/>
                  </a:lnTo>
                  <a:lnTo>
                    <a:pt x="658" y="6"/>
                  </a:lnTo>
                  <a:lnTo>
                    <a:pt x="656" y="14"/>
                  </a:lnTo>
                  <a:lnTo>
                    <a:pt x="658" y="22"/>
                  </a:lnTo>
                  <a:lnTo>
                    <a:pt x="648" y="32"/>
                  </a:lnTo>
                  <a:lnTo>
                    <a:pt x="638" y="16"/>
                  </a:lnTo>
                  <a:lnTo>
                    <a:pt x="630" y="20"/>
                  </a:lnTo>
                  <a:lnTo>
                    <a:pt x="628" y="32"/>
                  </a:lnTo>
                  <a:lnTo>
                    <a:pt x="622" y="50"/>
                  </a:lnTo>
                  <a:lnTo>
                    <a:pt x="608" y="64"/>
                  </a:lnTo>
                  <a:lnTo>
                    <a:pt x="600" y="48"/>
                  </a:lnTo>
                  <a:lnTo>
                    <a:pt x="614" y="38"/>
                  </a:lnTo>
                  <a:lnTo>
                    <a:pt x="618" y="22"/>
                  </a:lnTo>
                  <a:lnTo>
                    <a:pt x="608" y="22"/>
                  </a:lnTo>
                  <a:lnTo>
                    <a:pt x="594" y="22"/>
                  </a:lnTo>
                  <a:lnTo>
                    <a:pt x="584" y="38"/>
                  </a:lnTo>
                  <a:lnTo>
                    <a:pt x="570" y="60"/>
                  </a:lnTo>
                  <a:lnTo>
                    <a:pt x="576" y="70"/>
                  </a:lnTo>
                  <a:lnTo>
                    <a:pt x="568" y="76"/>
                  </a:lnTo>
                  <a:lnTo>
                    <a:pt x="556" y="68"/>
                  </a:lnTo>
                  <a:lnTo>
                    <a:pt x="546" y="72"/>
                  </a:lnTo>
                  <a:lnTo>
                    <a:pt x="548" y="84"/>
                  </a:lnTo>
                  <a:lnTo>
                    <a:pt x="536" y="84"/>
                  </a:lnTo>
                  <a:lnTo>
                    <a:pt x="526" y="86"/>
                  </a:lnTo>
                  <a:lnTo>
                    <a:pt x="516" y="100"/>
                  </a:lnTo>
                  <a:lnTo>
                    <a:pt x="502" y="96"/>
                  </a:lnTo>
                  <a:lnTo>
                    <a:pt x="502" y="104"/>
                  </a:lnTo>
                  <a:lnTo>
                    <a:pt x="490" y="96"/>
                  </a:lnTo>
                  <a:lnTo>
                    <a:pt x="478" y="102"/>
                  </a:lnTo>
                  <a:lnTo>
                    <a:pt x="474" y="112"/>
                  </a:lnTo>
                  <a:lnTo>
                    <a:pt x="464" y="116"/>
                  </a:lnTo>
                  <a:lnTo>
                    <a:pt x="456" y="104"/>
                  </a:lnTo>
                  <a:lnTo>
                    <a:pt x="440" y="108"/>
                  </a:lnTo>
                  <a:lnTo>
                    <a:pt x="424" y="112"/>
                  </a:lnTo>
                  <a:lnTo>
                    <a:pt x="424" y="128"/>
                  </a:lnTo>
                  <a:lnTo>
                    <a:pt x="434" y="132"/>
                  </a:lnTo>
                  <a:lnTo>
                    <a:pt x="434" y="136"/>
                  </a:lnTo>
                  <a:lnTo>
                    <a:pt x="434" y="146"/>
                  </a:lnTo>
                  <a:lnTo>
                    <a:pt x="426" y="144"/>
                  </a:lnTo>
                  <a:lnTo>
                    <a:pt x="416" y="150"/>
                  </a:lnTo>
                  <a:lnTo>
                    <a:pt x="418" y="160"/>
                  </a:lnTo>
                  <a:lnTo>
                    <a:pt x="428" y="168"/>
                  </a:lnTo>
                  <a:lnTo>
                    <a:pt x="428" y="182"/>
                  </a:lnTo>
                  <a:lnTo>
                    <a:pt x="418" y="176"/>
                  </a:lnTo>
                  <a:lnTo>
                    <a:pt x="410" y="178"/>
                  </a:lnTo>
                  <a:lnTo>
                    <a:pt x="410" y="190"/>
                  </a:lnTo>
                  <a:lnTo>
                    <a:pt x="398" y="190"/>
                  </a:lnTo>
                  <a:lnTo>
                    <a:pt x="386" y="190"/>
                  </a:lnTo>
                  <a:lnTo>
                    <a:pt x="384" y="198"/>
                  </a:lnTo>
                  <a:lnTo>
                    <a:pt x="380" y="204"/>
                  </a:lnTo>
                  <a:lnTo>
                    <a:pt x="372" y="206"/>
                  </a:lnTo>
                  <a:lnTo>
                    <a:pt x="370" y="212"/>
                  </a:lnTo>
                  <a:lnTo>
                    <a:pt x="372" y="218"/>
                  </a:lnTo>
                  <a:lnTo>
                    <a:pt x="356" y="224"/>
                  </a:lnTo>
                  <a:lnTo>
                    <a:pt x="368" y="234"/>
                  </a:lnTo>
                  <a:lnTo>
                    <a:pt x="370" y="240"/>
                  </a:lnTo>
                  <a:lnTo>
                    <a:pt x="358" y="248"/>
                  </a:lnTo>
                  <a:lnTo>
                    <a:pt x="340" y="262"/>
                  </a:lnTo>
                  <a:lnTo>
                    <a:pt x="326" y="272"/>
                  </a:lnTo>
                  <a:lnTo>
                    <a:pt x="316" y="288"/>
                  </a:lnTo>
                  <a:lnTo>
                    <a:pt x="302" y="300"/>
                  </a:lnTo>
                  <a:lnTo>
                    <a:pt x="302" y="306"/>
                  </a:lnTo>
                  <a:lnTo>
                    <a:pt x="306" y="314"/>
                  </a:lnTo>
                  <a:lnTo>
                    <a:pt x="294" y="324"/>
                  </a:lnTo>
                  <a:lnTo>
                    <a:pt x="298" y="334"/>
                  </a:lnTo>
                  <a:lnTo>
                    <a:pt x="286" y="352"/>
                  </a:lnTo>
                  <a:lnTo>
                    <a:pt x="278" y="356"/>
                  </a:lnTo>
                  <a:lnTo>
                    <a:pt x="278" y="370"/>
                  </a:lnTo>
                  <a:lnTo>
                    <a:pt x="284" y="376"/>
                  </a:lnTo>
                  <a:lnTo>
                    <a:pt x="276" y="384"/>
                  </a:lnTo>
                  <a:lnTo>
                    <a:pt x="270" y="380"/>
                  </a:lnTo>
                  <a:lnTo>
                    <a:pt x="260" y="384"/>
                  </a:lnTo>
                  <a:lnTo>
                    <a:pt x="262" y="400"/>
                  </a:lnTo>
                  <a:lnTo>
                    <a:pt x="252" y="406"/>
                  </a:lnTo>
                  <a:lnTo>
                    <a:pt x="236" y="408"/>
                  </a:lnTo>
                  <a:lnTo>
                    <a:pt x="224" y="422"/>
                  </a:lnTo>
                  <a:lnTo>
                    <a:pt x="222" y="436"/>
                  </a:lnTo>
                  <a:lnTo>
                    <a:pt x="210" y="446"/>
                  </a:lnTo>
                  <a:lnTo>
                    <a:pt x="210" y="454"/>
                  </a:lnTo>
                  <a:lnTo>
                    <a:pt x="224" y="444"/>
                  </a:lnTo>
                  <a:lnTo>
                    <a:pt x="240" y="432"/>
                  </a:lnTo>
                  <a:lnTo>
                    <a:pt x="246" y="436"/>
                  </a:lnTo>
                  <a:lnTo>
                    <a:pt x="240" y="452"/>
                  </a:lnTo>
                  <a:lnTo>
                    <a:pt x="228" y="460"/>
                  </a:lnTo>
                  <a:lnTo>
                    <a:pt x="214" y="458"/>
                  </a:lnTo>
                  <a:lnTo>
                    <a:pt x="216" y="468"/>
                  </a:lnTo>
                  <a:lnTo>
                    <a:pt x="196" y="476"/>
                  </a:lnTo>
                  <a:lnTo>
                    <a:pt x="194" y="460"/>
                  </a:lnTo>
                  <a:lnTo>
                    <a:pt x="186" y="454"/>
                  </a:lnTo>
                  <a:lnTo>
                    <a:pt x="174" y="470"/>
                  </a:lnTo>
                  <a:lnTo>
                    <a:pt x="164" y="470"/>
                  </a:lnTo>
                  <a:lnTo>
                    <a:pt x="152" y="472"/>
                  </a:lnTo>
                  <a:lnTo>
                    <a:pt x="150" y="486"/>
                  </a:lnTo>
                  <a:lnTo>
                    <a:pt x="144" y="488"/>
                  </a:lnTo>
                  <a:lnTo>
                    <a:pt x="144" y="496"/>
                  </a:lnTo>
                  <a:lnTo>
                    <a:pt x="138" y="494"/>
                  </a:lnTo>
                  <a:lnTo>
                    <a:pt x="128" y="488"/>
                  </a:lnTo>
                  <a:lnTo>
                    <a:pt x="114" y="488"/>
                  </a:lnTo>
                  <a:lnTo>
                    <a:pt x="114" y="496"/>
                  </a:lnTo>
                  <a:lnTo>
                    <a:pt x="114" y="504"/>
                  </a:lnTo>
                  <a:lnTo>
                    <a:pt x="110" y="506"/>
                  </a:lnTo>
                  <a:lnTo>
                    <a:pt x="96" y="500"/>
                  </a:lnTo>
                  <a:lnTo>
                    <a:pt x="84" y="510"/>
                  </a:lnTo>
                  <a:lnTo>
                    <a:pt x="86" y="516"/>
                  </a:lnTo>
                  <a:lnTo>
                    <a:pt x="84" y="522"/>
                  </a:lnTo>
                  <a:lnTo>
                    <a:pt x="72" y="516"/>
                  </a:lnTo>
                  <a:lnTo>
                    <a:pt x="68" y="524"/>
                  </a:lnTo>
                  <a:lnTo>
                    <a:pt x="64" y="530"/>
                  </a:lnTo>
                  <a:lnTo>
                    <a:pt x="50" y="526"/>
                  </a:lnTo>
                  <a:lnTo>
                    <a:pt x="42" y="528"/>
                  </a:lnTo>
                  <a:lnTo>
                    <a:pt x="40" y="538"/>
                  </a:lnTo>
                  <a:lnTo>
                    <a:pt x="34" y="542"/>
                  </a:lnTo>
                  <a:lnTo>
                    <a:pt x="26" y="554"/>
                  </a:lnTo>
                  <a:lnTo>
                    <a:pt x="28" y="568"/>
                  </a:lnTo>
                  <a:lnTo>
                    <a:pt x="24" y="590"/>
                  </a:lnTo>
                  <a:lnTo>
                    <a:pt x="20" y="612"/>
                  </a:lnTo>
                  <a:lnTo>
                    <a:pt x="18" y="632"/>
                  </a:lnTo>
                  <a:lnTo>
                    <a:pt x="14" y="642"/>
                  </a:lnTo>
                  <a:lnTo>
                    <a:pt x="22" y="652"/>
                  </a:lnTo>
                  <a:lnTo>
                    <a:pt x="34" y="644"/>
                  </a:lnTo>
                  <a:lnTo>
                    <a:pt x="42" y="648"/>
                  </a:lnTo>
                  <a:lnTo>
                    <a:pt x="42" y="656"/>
                  </a:lnTo>
                  <a:lnTo>
                    <a:pt x="30" y="662"/>
                  </a:lnTo>
                  <a:lnTo>
                    <a:pt x="28" y="676"/>
                  </a:lnTo>
                  <a:lnTo>
                    <a:pt x="26" y="682"/>
                  </a:lnTo>
                  <a:lnTo>
                    <a:pt x="14" y="680"/>
                  </a:lnTo>
                  <a:lnTo>
                    <a:pt x="10" y="696"/>
                  </a:lnTo>
                  <a:lnTo>
                    <a:pt x="14" y="700"/>
                  </a:lnTo>
                  <a:lnTo>
                    <a:pt x="26" y="698"/>
                  </a:lnTo>
                  <a:lnTo>
                    <a:pt x="32" y="706"/>
                  </a:lnTo>
                  <a:lnTo>
                    <a:pt x="32" y="708"/>
                  </a:lnTo>
                  <a:lnTo>
                    <a:pt x="24" y="714"/>
                  </a:lnTo>
                  <a:lnTo>
                    <a:pt x="24" y="724"/>
                  </a:lnTo>
                  <a:lnTo>
                    <a:pt x="14" y="726"/>
                  </a:lnTo>
                  <a:lnTo>
                    <a:pt x="6" y="722"/>
                  </a:lnTo>
                  <a:lnTo>
                    <a:pt x="8" y="734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16" y="760"/>
                  </a:lnTo>
                  <a:lnTo>
                    <a:pt x="24" y="770"/>
                  </a:lnTo>
                  <a:lnTo>
                    <a:pt x="28" y="782"/>
                  </a:lnTo>
                  <a:lnTo>
                    <a:pt x="44" y="792"/>
                  </a:lnTo>
                  <a:lnTo>
                    <a:pt x="62" y="802"/>
                  </a:lnTo>
                  <a:lnTo>
                    <a:pt x="80" y="802"/>
                  </a:lnTo>
                  <a:lnTo>
                    <a:pt x="104" y="786"/>
                  </a:lnTo>
                  <a:lnTo>
                    <a:pt x="128" y="768"/>
                  </a:lnTo>
                  <a:lnTo>
                    <a:pt x="150" y="738"/>
                  </a:lnTo>
                  <a:lnTo>
                    <a:pt x="154" y="736"/>
                  </a:lnTo>
                  <a:lnTo>
                    <a:pt x="160" y="746"/>
                  </a:lnTo>
                  <a:lnTo>
                    <a:pt x="172" y="738"/>
                  </a:lnTo>
                  <a:lnTo>
                    <a:pt x="174" y="728"/>
                  </a:lnTo>
                  <a:lnTo>
                    <a:pt x="176" y="714"/>
                  </a:lnTo>
                  <a:lnTo>
                    <a:pt x="188" y="698"/>
                  </a:lnTo>
                  <a:lnTo>
                    <a:pt x="182" y="716"/>
                  </a:lnTo>
                  <a:lnTo>
                    <a:pt x="188" y="720"/>
                  </a:lnTo>
                  <a:lnTo>
                    <a:pt x="186" y="728"/>
                  </a:lnTo>
                  <a:lnTo>
                    <a:pt x="188" y="742"/>
                  </a:lnTo>
                  <a:lnTo>
                    <a:pt x="194" y="754"/>
                  </a:lnTo>
                  <a:lnTo>
                    <a:pt x="200" y="750"/>
                  </a:lnTo>
                  <a:lnTo>
                    <a:pt x="200" y="75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39" name="Freeform 133"/>
            <p:cNvSpPr>
              <a:spLocks/>
            </p:cNvSpPr>
            <p:nvPr/>
          </p:nvSpPr>
          <p:spPr bwMode="auto">
            <a:xfrm>
              <a:off x="1800006" y="1462186"/>
              <a:ext cx="513386" cy="582743"/>
            </a:xfrm>
            <a:custGeom>
              <a:avLst/>
              <a:gdLst>
                <a:gd name="T0" fmla="*/ 218 w 746"/>
                <a:gd name="T1" fmla="*/ 732 h 802"/>
                <a:gd name="T2" fmla="*/ 248 w 746"/>
                <a:gd name="T3" fmla="*/ 686 h 802"/>
                <a:gd name="T4" fmla="*/ 240 w 746"/>
                <a:gd name="T5" fmla="*/ 624 h 802"/>
                <a:gd name="T6" fmla="*/ 246 w 746"/>
                <a:gd name="T7" fmla="*/ 572 h 802"/>
                <a:gd name="T8" fmla="*/ 260 w 746"/>
                <a:gd name="T9" fmla="*/ 496 h 802"/>
                <a:gd name="T10" fmla="*/ 298 w 746"/>
                <a:gd name="T11" fmla="*/ 446 h 802"/>
                <a:gd name="T12" fmla="*/ 316 w 746"/>
                <a:gd name="T13" fmla="*/ 406 h 802"/>
                <a:gd name="T14" fmla="*/ 332 w 746"/>
                <a:gd name="T15" fmla="*/ 366 h 802"/>
                <a:gd name="T16" fmla="*/ 372 w 746"/>
                <a:gd name="T17" fmla="*/ 300 h 802"/>
                <a:gd name="T18" fmla="*/ 394 w 746"/>
                <a:gd name="T19" fmla="*/ 246 h 802"/>
                <a:gd name="T20" fmla="*/ 444 w 746"/>
                <a:gd name="T21" fmla="*/ 192 h 802"/>
                <a:gd name="T22" fmla="*/ 486 w 746"/>
                <a:gd name="T23" fmla="*/ 174 h 802"/>
                <a:gd name="T24" fmla="*/ 514 w 746"/>
                <a:gd name="T25" fmla="*/ 126 h 802"/>
                <a:gd name="T26" fmla="*/ 578 w 746"/>
                <a:gd name="T27" fmla="*/ 152 h 802"/>
                <a:gd name="T28" fmla="*/ 614 w 746"/>
                <a:gd name="T29" fmla="*/ 160 h 802"/>
                <a:gd name="T30" fmla="*/ 634 w 746"/>
                <a:gd name="T31" fmla="*/ 96 h 802"/>
                <a:gd name="T32" fmla="*/ 688 w 746"/>
                <a:gd name="T33" fmla="*/ 92 h 802"/>
                <a:gd name="T34" fmla="*/ 708 w 746"/>
                <a:gd name="T35" fmla="*/ 116 h 802"/>
                <a:gd name="T36" fmla="*/ 724 w 746"/>
                <a:gd name="T37" fmla="*/ 84 h 802"/>
                <a:gd name="T38" fmla="*/ 744 w 746"/>
                <a:gd name="T39" fmla="*/ 46 h 802"/>
                <a:gd name="T40" fmla="*/ 708 w 746"/>
                <a:gd name="T41" fmla="*/ 14 h 802"/>
                <a:gd name="T42" fmla="*/ 674 w 746"/>
                <a:gd name="T43" fmla="*/ 16 h 802"/>
                <a:gd name="T44" fmla="*/ 656 w 746"/>
                <a:gd name="T45" fmla="*/ 14 h 802"/>
                <a:gd name="T46" fmla="*/ 628 w 746"/>
                <a:gd name="T47" fmla="*/ 32 h 802"/>
                <a:gd name="T48" fmla="*/ 618 w 746"/>
                <a:gd name="T49" fmla="*/ 22 h 802"/>
                <a:gd name="T50" fmla="*/ 576 w 746"/>
                <a:gd name="T51" fmla="*/ 70 h 802"/>
                <a:gd name="T52" fmla="*/ 536 w 746"/>
                <a:gd name="T53" fmla="*/ 84 h 802"/>
                <a:gd name="T54" fmla="*/ 490 w 746"/>
                <a:gd name="T55" fmla="*/ 96 h 802"/>
                <a:gd name="T56" fmla="*/ 440 w 746"/>
                <a:gd name="T57" fmla="*/ 108 h 802"/>
                <a:gd name="T58" fmla="*/ 434 w 746"/>
                <a:gd name="T59" fmla="*/ 146 h 802"/>
                <a:gd name="T60" fmla="*/ 428 w 746"/>
                <a:gd name="T61" fmla="*/ 182 h 802"/>
                <a:gd name="T62" fmla="*/ 386 w 746"/>
                <a:gd name="T63" fmla="*/ 190 h 802"/>
                <a:gd name="T64" fmla="*/ 372 w 746"/>
                <a:gd name="T65" fmla="*/ 218 h 802"/>
                <a:gd name="T66" fmla="*/ 340 w 746"/>
                <a:gd name="T67" fmla="*/ 262 h 802"/>
                <a:gd name="T68" fmla="*/ 306 w 746"/>
                <a:gd name="T69" fmla="*/ 314 h 802"/>
                <a:gd name="T70" fmla="*/ 278 w 746"/>
                <a:gd name="T71" fmla="*/ 370 h 802"/>
                <a:gd name="T72" fmla="*/ 262 w 746"/>
                <a:gd name="T73" fmla="*/ 400 h 802"/>
                <a:gd name="T74" fmla="*/ 210 w 746"/>
                <a:gd name="T75" fmla="*/ 446 h 802"/>
                <a:gd name="T76" fmla="*/ 240 w 746"/>
                <a:gd name="T77" fmla="*/ 452 h 802"/>
                <a:gd name="T78" fmla="*/ 194 w 746"/>
                <a:gd name="T79" fmla="*/ 460 h 802"/>
                <a:gd name="T80" fmla="*/ 150 w 746"/>
                <a:gd name="T81" fmla="*/ 486 h 802"/>
                <a:gd name="T82" fmla="*/ 114 w 746"/>
                <a:gd name="T83" fmla="*/ 488 h 802"/>
                <a:gd name="T84" fmla="*/ 84 w 746"/>
                <a:gd name="T85" fmla="*/ 510 h 802"/>
                <a:gd name="T86" fmla="*/ 64 w 746"/>
                <a:gd name="T87" fmla="*/ 530 h 802"/>
                <a:gd name="T88" fmla="*/ 26 w 746"/>
                <a:gd name="T89" fmla="*/ 554 h 802"/>
                <a:gd name="T90" fmla="*/ 14 w 746"/>
                <a:gd name="T91" fmla="*/ 642 h 802"/>
                <a:gd name="T92" fmla="*/ 30 w 746"/>
                <a:gd name="T93" fmla="*/ 662 h 802"/>
                <a:gd name="T94" fmla="*/ 14 w 746"/>
                <a:gd name="T95" fmla="*/ 700 h 802"/>
                <a:gd name="T96" fmla="*/ 24 w 746"/>
                <a:gd name="T97" fmla="*/ 724 h 802"/>
                <a:gd name="T98" fmla="*/ 0 w 746"/>
                <a:gd name="T99" fmla="*/ 744 h 802"/>
                <a:gd name="T100" fmla="*/ 62 w 746"/>
                <a:gd name="T101" fmla="*/ 802 h 802"/>
                <a:gd name="T102" fmla="*/ 154 w 746"/>
                <a:gd name="T103" fmla="*/ 736 h 802"/>
                <a:gd name="T104" fmla="*/ 188 w 746"/>
                <a:gd name="T105" fmla="*/ 698 h 802"/>
                <a:gd name="T106" fmla="*/ 194 w 746"/>
                <a:gd name="T107" fmla="*/ 754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46" h="802">
                  <a:moveTo>
                    <a:pt x="200" y="754"/>
                  </a:moveTo>
                  <a:lnTo>
                    <a:pt x="202" y="752"/>
                  </a:lnTo>
                  <a:lnTo>
                    <a:pt x="210" y="750"/>
                  </a:lnTo>
                  <a:lnTo>
                    <a:pt x="216" y="742"/>
                  </a:lnTo>
                  <a:lnTo>
                    <a:pt x="218" y="732"/>
                  </a:lnTo>
                  <a:lnTo>
                    <a:pt x="222" y="726"/>
                  </a:lnTo>
                  <a:lnTo>
                    <a:pt x="218" y="710"/>
                  </a:lnTo>
                  <a:lnTo>
                    <a:pt x="222" y="700"/>
                  </a:lnTo>
                  <a:lnTo>
                    <a:pt x="230" y="694"/>
                  </a:lnTo>
                  <a:lnTo>
                    <a:pt x="248" y="686"/>
                  </a:lnTo>
                  <a:lnTo>
                    <a:pt x="252" y="678"/>
                  </a:lnTo>
                  <a:lnTo>
                    <a:pt x="248" y="652"/>
                  </a:lnTo>
                  <a:lnTo>
                    <a:pt x="246" y="646"/>
                  </a:lnTo>
                  <a:lnTo>
                    <a:pt x="246" y="630"/>
                  </a:lnTo>
                  <a:lnTo>
                    <a:pt x="240" y="624"/>
                  </a:lnTo>
                  <a:lnTo>
                    <a:pt x="244" y="612"/>
                  </a:lnTo>
                  <a:lnTo>
                    <a:pt x="248" y="612"/>
                  </a:lnTo>
                  <a:lnTo>
                    <a:pt x="262" y="604"/>
                  </a:lnTo>
                  <a:lnTo>
                    <a:pt x="252" y="580"/>
                  </a:lnTo>
                  <a:lnTo>
                    <a:pt x="246" y="572"/>
                  </a:lnTo>
                  <a:lnTo>
                    <a:pt x="246" y="568"/>
                  </a:lnTo>
                  <a:lnTo>
                    <a:pt x="246" y="548"/>
                  </a:lnTo>
                  <a:lnTo>
                    <a:pt x="254" y="532"/>
                  </a:lnTo>
                  <a:lnTo>
                    <a:pt x="256" y="516"/>
                  </a:lnTo>
                  <a:lnTo>
                    <a:pt x="260" y="496"/>
                  </a:lnTo>
                  <a:lnTo>
                    <a:pt x="256" y="480"/>
                  </a:lnTo>
                  <a:lnTo>
                    <a:pt x="262" y="470"/>
                  </a:lnTo>
                  <a:lnTo>
                    <a:pt x="266" y="462"/>
                  </a:lnTo>
                  <a:lnTo>
                    <a:pt x="282" y="452"/>
                  </a:lnTo>
                  <a:lnTo>
                    <a:pt x="298" y="446"/>
                  </a:lnTo>
                  <a:lnTo>
                    <a:pt x="312" y="452"/>
                  </a:lnTo>
                  <a:lnTo>
                    <a:pt x="316" y="454"/>
                  </a:lnTo>
                  <a:lnTo>
                    <a:pt x="326" y="444"/>
                  </a:lnTo>
                  <a:lnTo>
                    <a:pt x="326" y="430"/>
                  </a:lnTo>
                  <a:lnTo>
                    <a:pt x="316" y="406"/>
                  </a:lnTo>
                  <a:lnTo>
                    <a:pt x="314" y="396"/>
                  </a:lnTo>
                  <a:lnTo>
                    <a:pt x="316" y="390"/>
                  </a:lnTo>
                  <a:lnTo>
                    <a:pt x="322" y="390"/>
                  </a:lnTo>
                  <a:lnTo>
                    <a:pt x="328" y="382"/>
                  </a:lnTo>
                  <a:lnTo>
                    <a:pt x="332" y="366"/>
                  </a:lnTo>
                  <a:lnTo>
                    <a:pt x="334" y="344"/>
                  </a:lnTo>
                  <a:lnTo>
                    <a:pt x="336" y="324"/>
                  </a:lnTo>
                  <a:lnTo>
                    <a:pt x="344" y="314"/>
                  </a:lnTo>
                  <a:lnTo>
                    <a:pt x="362" y="304"/>
                  </a:lnTo>
                  <a:lnTo>
                    <a:pt x="372" y="300"/>
                  </a:lnTo>
                  <a:lnTo>
                    <a:pt x="376" y="284"/>
                  </a:lnTo>
                  <a:lnTo>
                    <a:pt x="380" y="272"/>
                  </a:lnTo>
                  <a:lnTo>
                    <a:pt x="394" y="262"/>
                  </a:lnTo>
                  <a:lnTo>
                    <a:pt x="398" y="254"/>
                  </a:lnTo>
                  <a:lnTo>
                    <a:pt x="394" y="246"/>
                  </a:lnTo>
                  <a:lnTo>
                    <a:pt x="394" y="234"/>
                  </a:lnTo>
                  <a:lnTo>
                    <a:pt x="406" y="226"/>
                  </a:lnTo>
                  <a:lnTo>
                    <a:pt x="418" y="204"/>
                  </a:lnTo>
                  <a:lnTo>
                    <a:pt x="428" y="206"/>
                  </a:lnTo>
                  <a:lnTo>
                    <a:pt x="444" y="192"/>
                  </a:lnTo>
                  <a:lnTo>
                    <a:pt x="442" y="182"/>
                  </a:lnTo>
                  <a:lnTo>
                    <a:pt x="452" y="170"/>
                  </a:lnTo>
                  <a:lnTo>
                    <a:pt x="458" y="174"/>
                  </a:lnTo>
                  <a:lnTo>
                    <a:pt x="470" y="170"/>
                  </a:lnTo>
                  <a:lnTo>
                    <a:pt x="486" y="174"/>
                  </a:lnTo>
                  <a:lnTo>
                    <a:pt x="508" y="154"/>
                  </a:lnTo>
                  <a:lnTo>
                    <a:pt x="504" y="144"/>
                  </a:lnTo>
                  <a:lnTo>
                    <a:pt x="508" y="138"/>
                  </a:lnTo>
                  <a:lnTo>
                    <a:pt x="502" y="136"/>
                  </a:lnTo>
                  <a:lnTo>
                    <a:pt x="514" y="126"/>
                  </a:lnTo>
                  <a:lnTo>
                    <a:pt x="530" y="124"/>
                  </a:lnTo>
                  <a:lnTo>
                    <a:pt x="540" y="138"/>
                  </a:lnTo>
                  <a:lnTo>
                    <a:pt x="560" y="160"/>
                  </a:lnTo>
                  <a:lnTo>
                    <a:pt x="568" y="160"/>
                  </a:lnTo>
                  <a:lnTo>
                    <a:pt x="578" y="152"/>
                  </a:lnTo>
                  <a:lnTo>
                    <a:pt x="586" y="150"/>
                  </a:lnTo>
                  <a:lnTo>
                    <a:pt x="592" y="152"/>
                  </a:lnTo>
                  <a:lnTo>
                    <a:pt x="600" y="160"/>
                  </a:lnTo>
                  <a:lnTo>
                    <a:pt x="612" y="162"/>
                  </a:lnTo>
                  <a:lnTo>
                    <a:pt x="614" y="160"/>
                  </a:lnTo>
                  <a:lnTo>
                    <a:pt x="620" y="150"/>
                  </a:lnTo>
                  <a:lnTo>
                    <a:pt x="622" y="144"/>
                  </a:lnTo>
                  <a:lnTo>
                    <a:pt x="634" y="126"/>
                  </a:lnTo>
                  <a:lnTo>
                    <a:pt x="636" y="124"/>
                  </a:lnTo>
                  <a:lnTo>
                    <a:pt x="634" y="96"/>
                  </a:lnTo>
                  <a:lnTo>
                    <a:pt x="648" y="84"/>
                  </a:lnTo>
                  <a:lnTo>
                    <a:pt x="652" y="86"/>
                  </a:lnTo>
                  <a:lnTo>
                    <a:pt x="668" y="70"/>
                  </a:lnTo>
                  <a:lnTo>
                    <a:pt x="682" y="86"/>
                  </a:lnTo>
                  <a:lnTo>
                    <a:pt x="688" y="92"/>
                  </a:lnTo>
                  <a:lnTo>
                    <a:pt x="696" y="88"/>
                  </a:lnTo>
                  <a:lnTo>
                    <a:pt x="702" y="96"/>
                  </a:lnTo>
                  <a:lnTo>
                    <a:pt x="702" y="102"/>
                  </a:lnTo>
                  <a:lnTo>
                    <a:pt x="708" y="108"/>
                  </a:lnTo>
                  <a:lnTo>
                    <a:pt x="708" y="116"/>
                  </a:lnTo>
                  <a:lnTo>
                    <a:pt x="716" y="104"/>
                  </a:lnTo>
                  <a:lnTo>
                    <a:pt x="730" y="94"/>
                  </a:lnTo>
                  <a:lnTo>
                    <a:pt x="738" y="78"/>
                  </a:lnTo>
                  <a:lnTo>
                    <a:pt x="732" y="76"/>
                  </a:lnTo>
                  <a:lnTo>
                    <a:pt x="724" y="84"/>
                  </a:lnTo>
                  <a:lnTo>
                    <a:pt x="722" y="70"/>
                  </a:lnTo>
                  <a:lnTo>
                    <a:pt x="716" y="68"/>
                  </a:lnTo>
                  <a:lnTo>
                    <a:pt x="714" y="60"/>
                  </a:lnTo>
                  <a:lnTo>
                    <a:pt x="734" y="42"/>
                  </a:lnTo>
                  <a:lnTo>
                    <a:pt x="744" y="46"/>
                  </a:lnTo>
                  <a:lnTo>
                    <a:pt x="746" y="34"/>
                  </a:lnTo>
                  <a:lnTo>
                    <a:pt x="740" y="32"/>
                  </a:lnTo>
                  <a:lnTo>
                    <a:pt x="726" y="28"/>
                  </a:lnTo>
                  <a:lnTo>
                    <a:pt x="718" y="24"/>
                  </a:lnTo>
                  <a:lnTo>
                    <a:pt x="708" y="14"/>
                  </a:lnTo>
                  <a:lnTo>
                    <a:pt x="696" y="12"/>
                  </a:lnTo>
                  <a:lnTo>
                    <a:pt x="684" y="22"/>
                  </a:lnTo>
                  <a:lnTo>
                    <a:pt x="680" y="30"/>
                  </a:lnTo>
                  <a:lnTo>
                    <a:pt x="668" y="22"/>
                  </a:lnTo>
                  <a:lnTo>
                    <a:pt x="674" y="16"/>
                  </a:lnTo>
                  <a:lnTo>
                    <a:pt x="676" y="4"/>
                  </a:lnTo>
                  <a:lnTo>
                    <a:pt x="674" y="0"/>
                  </a:lnTo>
                  <a:lnTo>
                    <a:pt x="660" y="0"/>
                  </a:lnTo>
                  <a:lnTo>
                    <a:pt x="658" y="6"/>
                  </a:lnTo>
                  <a:lnTo>
                    <a:pt x="656" y="14"/>
                  </a:lnTo>
                  <a:lnTo>
                    <a:pt x="658" y="22"/>
                  </a:lnTo>
                  <a:lnTo>
                    <a:pt x="648" y="32"/>
                  </a:lnTo>
                  <a:lnTo>
                    <a:pt x="638" y="16"/>
                  </a:lnTo>
                  <a:lnTo>
                    <a:pt x="630" y="20"/>
                  </a:lnTo>
                  <a:lnTo>
                    <a:pt x="628" y="32"/>
                  </a:lnTo>
                  <a:lnTo>
                    <a:pt x="622" y="50"/>
                  </a:lnTo>
                  <a:lnTo>
                    <a:pt x="608" y="64"/>
                  </a:lnTo>
                  <a:lnTo>
                    <a:pt x="600" y="48"/>
                  </a:lnTo>
                  <a:lnTo>
                    <a:pt x="614" y="38"/>
                  </a:lnTo>
                  <a:lnTo>
                    <a:pt x="618" y="22"/>
                  </a:lnTo>
                  <a:lnTo>
                    <a:pt x="608" y="22"/>
                  </a:lnTo>
                  <a:lnTo>
                    <a:pt x="594" y="22"/>
                  </a:lnTo>
                  <a:lnTo>
                    <a:pt x="584" y="38"/>
                  </a:lnTo>
                  <a:lnTo>
                    <a:pt x="570" y="60"/>
                  </a:lnTo>
                  <a:lnTo>
                    <a:pt x="576" y="70"/>
                  </a:lnTo>
                  <a:lnTo>
                    <a:pt x="568" y="76"/>
                  </a:lnTo>
                  <a:lnTo>
                    <a:pt x="556" y="68"/>
                  </a:lnTo>
                  <a:lnTo>
                    <a:pt x="546" y="72"/>
                  </a:lnTo>
                  <a:lnTo>
                    <a:pt x="548" y="84"/>
                  </a:lnTo>
                  <a:lnTo>
                    <a:pt x="536" y="84"/>
                  </a:lnTo>
                  <a:lnTo>
                    <a:pt x="526" y="86"/>
                  </a:lnTo>
                  <a:lnTo>
                    <a:pt x="516" y="100"/>
                  </a:lnTo>
                  <a:lnTo>
                    <a:pt x="502" y="96"/>
                  </a:lnTo>
                  <a:lnTo>
                    <a:pt x="502" y="104"/>
                  </a:lnTo>
                  <a:lnTo>
                    <a:pt x="490" y="96"/>
                  </a:lnTo>
                  <a:lnTo>
                    <a:pt x="478" y="102"/>
                  </a:lnTo>
                  <a:lnTo>
                    <a:pt x="474" y="112"/>
                  </a:lnTo>
                  <a:lnTo>
                    <a:pt x="464" y="116"/>
                  </a:lnTo>
                  <a:lnTo>
                    <a:pt x="456" y="104"/>
                  </a:lnTo>
                  <a:lnTo>
                    <a:pt x="440" y="108"/>
                  </a:lnTo>
                  <a:lnTo>
                    <a:pt x="424" y="112"/>
                  </a:lnTo>
                  <a:lnTo>
                    <a:pt x="424" y="128"/>
                  </a:lnTo>
                  <a:lnTo>
                    <a:pt x="434" y="132"/>
                  </a:lnTo>
                  <a:lnTo>
                    <a:pt x="434" y="136"/>
                  </a:lnTo>
                  <a:lnTo>
                    <a:pt x="434" y="146"/>
                  </a:lnTo>
                  <a:lnTo>
                    <a:pt x="426" y="144"/>
                  </a:lnTo>
                  <a:lnTo>
                    <a:pt x="416" y="150"/>
                  </a:lnTo>
                  <a:lnTo>
                    <a:pt x="418" y="160"/>
                  </a:lnTo>
                  <a:lnTo>
                    <a:pt x="428" y="168"/>
                  </a:lnTo>
                  <a:lnTo>
                    <a:pt x="428" y="182"/>
                  </a:lnTo>
                  <a:lnTo>
                    <a:pt x="418" y="176"/>
                  </a:lnTo>
                  <a:lnTo>
                    <a:pt x="410" y="178"/>
                  </a:lnTo>
                  <a:lnTo>
                    <a:pt x="410" y="190"/>
                  </a:lnTo>
                  <a:lnTo>
                    <a:pt x="398" y="190"/>
                  </a:lnTo>
                  <a:lnTo>
                    <a:pt x="386" y="190"/>
                  </a:lnTo>
                  <a:lnTo>
                    <a:pt x="384" y="198"/>
                  </a:lnTo>
                  <a:lnTo>
                    <a:pt x="380" y="204"/>
                  </a:lnTo>
                  <a:lnTo>
                    <a:pt x="372" y="206"/>
                  </a:lnTo>
                  <a:lnTo>
                    <a:pt x="370" y="212"/>
                  </a:lnTo>
                  <a:lnTo>
                    <a:pt x="372" y="218"/>
                  </a:lnTo>
                  <a:lnTo>
                    <a:pt x="356" y="224"/>
                  </a:lnTo>
                  <a:lnTo>
                    <a:pt x="368" y="234"/>
                  </a:lnTo>
                  <a:lnTo>
                    <a:pt x="370" y="240"/>
                  </a:lnTo>
                  <a:lnTo>
                    <a:pt x="358" y="248"/>
                  </a:lnTo>
                  <a:lnTo>
                    <a:pt x="340" y="262"/>
                  </a:lnTo>
                  <a:lnTo>
                    <a:pt x="326" y="272"/>
                  </a:lnTo>
                  <a:lnTo>
                    <a:pt x="316" y="288"/>
                  </a:lnTo>
                  <a:lnTo>
                    <a:pt x="302" y="300"/>
                  </a:lnTo>
                  <a:lnTo>
                    <a:pt x="302" y="306"/>
                  </a:lnTo>
                  <a:lnTo>
                    <a:pt x="306" y="314"/>
                  </a:lnTo>
                  <a:lnTo>
                    <a:pt x="294" y="324"/>
                  </a:lnTo>
                  <a:lnTo>
                    <a:pt x="298" y="334"/>
                  </a:lnTo>
                  <a:lnTo>
                    <a:pt x="286" y="352"/>
                  </a:lnTo>
                  <a:lnTo>
                    <a:pt x="278" y="356"/>
                  </a:lnTo>
                  <a:lnTo>
                    <a:pt x="278" y="370"/>
                  </a:lnTo>
                  <a:lnTo>
                    <a:pt x="284" y="376"/>
                  </a:lnTo>
                  <a:lnTo>
                    <a:pt x="276" y="384"/>
                  </a:lnTo>
                  <a:lnTo>
                    <a:pt x="270" y="380"/>
                  </a:lnTo>
                  <a:lnTo>
                    <a:pt x="260" y="384"/>
                  </a:lnTo>
                  <a:lnTo>
                    <a:pt x="262" y="400"/>
                  </a:lnTo>
                  <a:lnTo>
                    <a:pt x="252" y="406"/>
                  </a:lnTo>
                  <a:lnTo>
                    <a:pt x="236" y="408"/>
                  </a:lnTo>
                  <a:lnTo>
                    <a:pt x="224" y="422"/>
                  </a:lnTo>
                  <a:lnTo>
                    <a:pt x="222" y="436"/>
                  </a:lnTo>
                  <a:lnTo>
                    <a:pt x="210" y="446"/>
                  </a:lnTo>
                  <a:lnTo>
                    <a:pt x="210" y="454"/>
                  </a:lnTo>
                  <a:lnTo>
                    <a:pt x="224" y="444"/>
                  </a:lnTo>
                  <a:lnTo>
                    <a:pt x="240" y="432"/>
                  </a:lnTo>
                  <a:lnTo>
                    <a:pt x="246" y="436"/>
                  </a:lnTo>
                  <a:lnTo>
                    <a:pt x="240" y="452"/>
                  </a:lnTo>
                  <a:lnTo>
                    <a:pt x="228" y="460"/>
                  </a:lnTo>
                  <a:lnTo>
                    <a:pt x="214" y="458"/>
                  </a:lnTo>
                  <a:lnTo>
                    <a:pt x="216" y="468"/>
                  </a:lnTo>
                  <a:lnTo>
                    <a:pt x="196" y="476"/>
                  </a:lnTo>
                  <a:lnTo>
                    <a:pt x="194" y="460"/>
                  </a:lnTo>
                  <a:lnTo>
                    <a:pt x="186" y="454"/>
                  </a:lnTo>
                  <a:lnTo>
                    <a:pt x="174" y="470"/>
                  </a:lnTo>
                  <a:lnTo>
                    <a:pt x="164" y="470"/>
                  </a:lnTo>
                  <a:lnTo>
                    <a:pt x="152" y="472"/>
                  </a:lnTo>
                  <a:lnTo>
                    <a:pt x="150" y="486"/>
                  </a:lnTo>
                  <a:lnTo>
                    <a:pt x="144" y="488"/>
                  </a:lnTo>
                  <a:lnTo>
                    <a:pt x="144" y="496"/>
                  </a:lnTo>
                  <a:lnTo>
                    <a:pt x="138" y="494"/>
                  </a:lnTo>
                  <a:lnTo>
                    <a:pt x="128" y="488"/>
                  </a:lnTo>
                  <a:lnTo>
                    <a:pt x="114" y="488"/>
                  </a:lnTo>
                  <a:lnTo>
                    <a:pt x="114" y="496"/>
                  </a:lnTo>
                  <a:lnTo>
                    <a:pt x="114" y="504"/>
                  </a:lnTo>
                  <a:lnTo>
                    <a:pt x="110" y="506"/>
                  </a:lnTo>
                  <a:lnTo>
                    <a:pt x="96" y="500"/>
                  </a:lnTo>
                  <a:lnTo>
                    <a:pt x="84" y="510"/>
                  </a:lnTo>
                  <a:lnTo>
                    <a:pt x="86" y="516"/>
                  </a:lnTo>
                  <a:lnTo>
                    <a:pt x="84" y="522"/>
                  </a:lnTo>
                  <a:lnTo>
                    <a:pt x="72" y="516"/>
                  </a:lnTo>
                  <a:lnTo>
                    <a:pt x="68" y="524"/>
                  </a:lnTo>
                  <a:lnTo>
                    <a:pt x="64" y="530"/>
                  </a:lnTo>
                  <a:lnTo>
                    <a:pt x="50" y="526"/>
                  </a:lnTo>
                  <a:lnTo>
                    <a:pt x="42" y="528"/>
                  </a:lnTo>
                  <a:lnTo>
                    <a:pt x="40" y="538"/>
                  </a:lnTo>
                  <a:lnTo>
                    <a:pt x="34" y="542"/>
                  </a:lnTo>
                  <a:lnTo>
                    <a:pt x="26" y="554"/>
                  </a:lnTo>
                  <a:lnTo>
                    <a:pt x="28" y="568"/>
                  </a:lnTo>
                  <a:lnTo>
                    <a:pt x="24" y="590"/>
                  </a:lnTo>
                  <a:lnTo>
                    <a:pt x="20" y="612"/>
                  </a:lnTo>
                  <a:lnTo>
                    <a:pt x="18" y="632"/>
                  </a:lnTo>
                  <a:lnTo>
                    <a:pt x="14" y="642"/>
                  </a:lnTo>
                  <a:lnTo>
                    <a:pt x="22" y="652"/>
                  </a:lnTo>
                  <a:lnTo>
                    <a:pt x="34" y="644"/>
                  </a:lnTo>
                  <a:lnTo>
                    <a:pt x="42" y="648"/>
                  </a:lnTo>
                  <a:lnTo>
                    <a:pt x="42" y="656"/>
                  </a:lnTo>
                  <a:lnTo>
                    <a:pt x="30" y="662"/>
                  </a:lnTo>
                  <a:lnTo>
                    <a:pt x="28" y="676"/>
                  </a:lnTo>
                  <a:lnTo>
                    <a:pt x="26" y="682"/>
                  </a:lnTo>
                  <a:lnTo>
                    <a:pt x="14" y="680"/>
                  </a:lnTo>
                  <a:lnTo>
                    <a:pt x="10" y="696"/>
                  </a:lnTo>
                  <a:lnTo>
                    <a:pt x="14" y="700"/>
                  </a:lnTo>
                  <a:lnTo>
                    <a:pt x="26" y="698"/>
                  </a:lnTo>
                  <a:lnTo>
                    <a:pt x="32" y="706"/>
                  </a:lnTo>
                  <a:lnTo>
                    <a:pt x="32" y="708"/>
                  </a:lnTo>
                  <a:lnTo>
                    <a:pt x="24" y="714"/>
                  </a:lnTo>
                  <a:lnTo>
                    <a:pt x="24" y="724"/>
                  </a:lnTo>
                  <a:lnTo>
                    <a:pt x="14" y="726"/>
                  </a:lnTo>
                  <a:lnTo>
                    <a:pt x="6" y="722"/>
                  </a:lnTo>
                  <a:lnTo>
                    <a:pt x="8" y="734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16" y="760"/>
                  </a:lnTo>
                  <a:lnTo>
                    <a:pt x="24" y="770"/>
                  </a:lnTo>
                  <a:lnTo>
                    <a:pt x="28" y="782"/>
                  </a:lnTo>
                  <a:lnTo>
                    <a:pt x="44" y="792"/>
                  </a:lnTo>
                  <a:lnTo>
                    <a:pt x="62" y="802"/>
                  </a:lnTo>
                  <a:lnTo>
                    <a:pt x="80" y="802"/>
                  </a:lnTo>
                  <a:lnTo>
                    <a:pt x="104" y="786"/>
                  </a:lnTo>
                  <a:lnTo>
                    <a:pt x="128" y="768"/>
                  </a:lnTo>
                  <a:lnTo>
                    <a:pt x="150" y="738"/>
                  </a:lnTo>
                  <a:lnTo>
                    <a:pt x="154" y="736"/>
                  </a:lnTo>
                  <a:lnTo>
                    <a:pt x="160" y="746"/>
                  </a:lnTo>
                  <a:lnTo>
                    <a:pt x="172" y="738"/>
                  </a:lnTo>
                  <a:lnTo>
                    <a:pt x="174" y="728"/>
                  </a:lnTo>
                  <a:lnTo>
                    <a:pt x="176" y="714"/>
                  </a:lnTo>
                  <a:lnTo>
                    <a:pt x="188" y="698"/>
                  </a:lnTo>
                  <a:lnTo>
                    <a:pt x="182" y="716"/>
                  </a:lnTo>
                  <a:lnTo>
                    <a:pt x="188" y="720"/>
                  </a:lnTo>
                  <a:lnTo>
                    <a:pt x="186" y="728"/>
                  </a:lnTo>
                  <a:lnTo>
                    <a:pt x="188" y="742"/>
                  </a:lnTo>
                  <a:lnTo>
                    <a:pt x="194" y="754"/>
                  </a:lnTo>
                  <a:lnTo>
                    <a:pt x="200" y="750"/>
                  </a:lnTo>
                  <a:lnTo>
                    <a:pt x="200" y="75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40" name="Freeform 134"/>
            <p:cNvSpPr>
              <a:spLocks/>
            </p:cNvSpPr>
            <p:nvPr/>
          </p:nvSpPr>
          <p:spPr bwMode="auto">
            <a:xfrm>
              <a:off x="1800006" y="1462186"/>
              <a:ext cx="513386" cy="582743"/>
            </a:xfrm>
            <a:custGeom>
              <a:avLst/>
              <a:gdLst>
                <a:gd name="T0" fmla="*/ 218 w 746"/>
                <a:gd name="T1" fmla="*/ 732 h 802"/>
                <a:gd name="T2" fmla="*/ 248 w 746"/>
                <a:gd name="T3" fmla="*/ 686 h 802"/>
                <a:gd name="T4" fmla="*/ 240 w 746"/>
                <a:gd name="T5" fmla="*/ 624 h 802"/>
                <a:gd name="T6" fmla="*/ 246 w 746"/>
                <a:gd name="T7" fmla="*/ 572 h 802"/>
                <a:gd name="T8" fmla="*/ 260 w 746"/>
                <a:gd name="T9" fmla="*/ 496 h 802"/>
                <a:gd name="T10" fmla="*/ 298 w 746"/>
                <a:gd name="T11" fmla="*/ 446 h 802"/>
                <a:gd name="T12" fmla="*/ 316 w 746"/>
                <a:gd name="T13" fmla="*/ 406 h 802"/>
                <a:gd name="T14" fmla="*/ 332 w 746"/>
                <a:gd name="T15" fmla="*/ 366 h 802"/>
                <a:gd name="T16" fmla="*/ 372 w 746"/>
                <a:gd name="T17" fmla="*/ 300 h 802"/>
                <a:gd name="T18" fmla="*/ 394 w 746"/>
                <a:gd name="T19" fmla="*/ 246 h 802"/>
                <a:gd name="T20" fmla="*/ 444 w 746"/>
                <a:gd name="T21" fmla="*/ 192 h 802"/>
                <a:gd name="T22" fmla="*/ 486 w 746"/>
                <a:gd name="T23" fmla="*/ 174 h 802"/>
                <a:gd name="T24" fmla="*/ 514 w 746"/>
                <a:gd name="T25" fmla="*/ 126 h 802"/>
                <a:gd name="T26" fmla="*/ 578 w 746"/>
                <a:gd name="T27" fmla="*/ 152 h 802"/>
                <a:gd name="T28" fmla="*/ 614 w 746"/>
                <a:gd name="T29" fmla="*/ 160 h 802"/>
                <a:gd name="T30" fmla="*/ 634 w 746"/>
                <a:gd name="T31" fmla="*/ 96 h 802"/>
                <a:gd name="T32" fmla="*/ 688 w 746"/>
                <a:gd name="T33" fmla="*/ 92 h 802"/>
                <a:gd name="T34" fmla="*/ 708 w 746"/>
                <a:gd name="T35" fmla="*/ 116 h 802"/>
                <a:gd name="T36" fmla="*/ 724 w 746"/>
                <a:gd name="T37" fmla="*/ 84 h 802"/>
                <a:gd name="T38" fmla="*/ 744 w 746"/>
                <a:gd name="T39" fmla="*/ 46 h 802"/>
                <a:gd name="T40" fmla="*/ 708 w 746"/>
                <a:gd name="T41" fmla="*/ 14 h 802"/>
                <a:gd name="T42" fmla="*/ 674 w 746"/>
                <a:gd name="T43" fmla="*/ 16 h 802"/>
                <a:gd name="T44" fmla="*/ 656 w 746"/>
                <a:gd name="T45" fmla="*/ 14 h 802"/>
                <a:gd name="T46" fmla="*/ 628 w 746"/>
                <a:gd name="T47" fmla="*/ 32 h 802"/>
                <a:gd name="T48" fmla="*/ 618 w 746"/>
                <a:gd name="T49" fmla="*/ 22 h 802"/>
                <a:gd name="T50" fmla="*/ 576 w 746"/>
                <a:gd name="T51" fmla="*/ 70 h 802"/>
                <a:gd name="T52" fmla="*/ 536 w 746"/>
                <a:gd name="T53" fmla="*/ 84 h 802"/>
                <a:gd name="T54" fmla="*/ 490 w 746"/>
                <a:gd name="T55" fmla="*/ 96 h 802"/>
                <a:gd name="T56" fmla="*/ 440 w 746"/>
                <a:gd name="T57" fmla="*/ 108 h 802"/>
                <a:gd name="T58" fmla="*/ 434 w 746"/>
                <a:gd name="T59" fmla="*/ 146 h 802"/>
                <a:gd name="T60" fmla="*/ 428 w 746"/>
                <a:gd name="T61" fmla="*/ 182 h 802"/>
                <a:gd name="T62" fmla="*/ 386 w 746"/>
                <a:gd name="T63" fmla="*/ 190 h 802"/>
                <a:gd name="T64" fmla="*/ 372 w 746"/>
                <a:gd name="T65" fmla="*/ 218 h 802"/>
                <a:gd name="T66" fmla="*/ 340 w 746"/>
                <a:gd name="T67" fmla="*/ 262 h 802"/>
                <a:gd name="T68" fmla="*/ 306 w 746"/>
                <a:gd name="T69" fmla="*/ 314 h 802"/>
                <a:gd name="T70" fmla="*/ 278 w 746"/>
                <a:gd name="T71" fmla="*/ 370 h 802"/>
                <a:gd name="T72" fmla="*/ 262 w 746"/>
                <a:gd name="T73" fmla="*/ 400 h 802"/>
                <a:gd name="T74" fmla="*/ 210 w 746"/>
                <a:gd name="T75" fmla="*/ 446 h 802"/>
                <a:gd name="T76" fmla="*/ 240 w 746"/>
                <a:gd name="T77" fmla="*/ 452 h 802"/>
                <a:gd name="T78" fmla="*/ 194 w 746"/>
                <a:gd name="T79" fmla="*/ 460 h 802"/>
                <a:gd name="T80" fmla="*/ 150 w 746"/>
                <a:gd name="T81" fmla="*/ 486 h 802"/>
                <a:gd name="T82" fmla="*/ 114 w 746"/>
                <a:gd name="T83" fmla="*/ 488 h 802"/>
                <a:gd name="T84" fmla="*/ 84 w 746"/>
                <a:gd name="T85" fmla="*/ 510 h 802"/>
                <a:gd name="T86" fmla="*/ 64 w 746"/>
                <a:gd name="T87" fmla="*/ 530 h 802"/>
                <a:gd name="T88" fmla="*/ 26 w 746"/>
                <a:gd name="T89" fmla="*/ 554 h 802"/>
                <a:gd name="T90" fmla="*/ 14 w 746"/>
                <a:gd name="T91" fmla="*/ 642 h 802"/>
                <a:gd name="T92" fmla="*/ 30 w 746"/>
                <a:gd name="T93" fmla="*/ 662 h 802"/>
                <a:gd name="T94" fmla="*/ 14 w 746"/>
                <a:gd name="T95" fmla="*/ 700 h 802"/>
                <a:gd name="T96" fmla="*/ 24 w 746"/>
                <a:gd name="T97" fmla="*/ 724 h 802"/>
                <a:gd name="T98" fmla="*/ 0 w 746"/>
                <a:gd name="T99" fmla="*/ 744 h 802"/>
                <a:gd name="T100" fmla="*/ 62 w 746"/>
                <a:gd name="T101" fmla="*/ 802 h 802"/>
                <a:gd name="T102" fmla="*/ 154 w 746"/>
                <a:gd name="T103" fmla="*/ 736 h 802"/>
                <a:gd name="T104" fmla="*/ 188 w 746"/>
                <a:gd name="T105" fmla="*/ 698 h 802"/>
                <a:gd name="T106" fmla="*/ 194 w 746"/>
                <a:gd name="T107" fmla="*/ 754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46" h="802">
                  <a:moveTo>
                    <a:pt x="200" y="754"/>
                  </a:moveTo>
                  <a:lnTo>
                    <a:pt x="202" y="752"/>
                  </a:lnTo>
                  <a:lnTo>
                    <a:pt x="210" y="750"/>
                  </a:lnTo>
                  <a:lnTo>
                    <a:pt x="216" y="742"/>
                  </a:lnTo>
                  <a:lnTo>
                    <a:pt x="218" y="732"/>
                  </a:lnTo>
                  <a:lnTo>
                    <a:pt x="222" y="726"/>
                  </a:lnTo>
                  <a:lnTo>
                    <a:pt x="218" y="710"/>
                  </a:lnTo>
                  <a:lnTo>
                    <a:pt x="222" y="700"/>
                  </a:lnTo>
                  <a:lnTo>
                    <a:pt x="230" y="694"/>
                  </a:lnTo>
                  <a:lnTo>
                    <a:pt x="248" y="686"/>
                  </a:lnTo>
                  <a:lnTo>
                    <a:pt x="252" y="678"/>
                  </a:lnTo>
                  <a:lnTo>
                    <a:pt x="248" y="652"/>
                  </a:lnTo>
                  <a:lnTo>
                    <a:pt x="246" y="646"/>
                  </a:lnTo>
                  <a:lnTo>
                    <a:pt x="246" y="630"/>
                  </a:lnTo>
                  <a:lnTo>
                    <a:pt x="240" y="624"/>
                  </a:lnTo>
                  <a:lnTo>
                    <a:pt x="244" y="612"/>
                  </a:lnTo>
                  <a:lnTo>
                    <a:pt x="248" y="612"/>
                  </a:lnTo>
                  <a:lnTo>
                    <a:pt x="262" y="604"/>
                  </a:lnTo>
                  <a:lnTo>
                    <a:pt x="252" y="580"/>
                  </a:lnTo>
                  <a:lnTo>
                    <a:pt x="246" y="572"/>
                  </a:lnTo>
                  <a:lnTo>
                    <a:pt x="246" y="568"/>
                  </a:lnTo>
                  <a:lnTo>
                    <a:pt x="246" y="548"/>
                  </a:lnTo>
                  <a:lnTo>
                    <a:pt x="254" y="532"/>
                  </a:lnTo>
                  <a:lnTo>
                    <a:pt x="256" y="516"/>
                  </a:lnTo>
                  <a:lnTo>
                    <a:pt x="260" y="496"/>
                  </a:lnTo>
                  <a:lnTo>
                    <a:pt x="256" y="480"/>
                  </a:lnTo>
                  <a:lnTo>
                    <a:pt x="262" y="470"/>
                  </a:lnTo>
                  <a:lnTo>
                    <a:pt x="266" y="462"/>
                  </a:lnTo>
                  <a:lnTo>
                    <a:pt x="282" y="452"/>
                  </a:lnTo>
                  <a:lnTo>
                    <a:pt x="298" y="446"/>
                  </a:lnTo>
                  <a:lnTo>
                    <a:pt x="312" y="452"/>
                  </a:lnTo>
                  <a:lnTo>
                    <a:pt x="316" y="454"/>
                  </a:lnTo>
                  <a:lnTo>
                    <a:pt x="326" y="444"/>
                  </a:lnTo>
                  <a:lnTo>
                    <a:pt x="326" y="430"/>
                  </a:lnTo>
                  <a:lnTo>
                    <a:pt x="316" y="406"/>
                  </a:lnTo>
                  <a:lnTo>
                    <a:pt x="314" y="396"/>
                  </a:lnTo>
                  <a:lnTo>
                    <a:pt x="316" y="390"/>
                  </a:lnTo>
                  <a:lnTo>
                    <a:pt x="322" y="390"/>
                  </a:lnTo>
                  <a:lnTo>
                    <a:pt x="328" y="382"/>
                  </a:lnTo>
                  <a:lnTo>
                    <a:pt x="332" y="366"/>
                  </a:lnTo>
                  <a:lnTo>
                    <a:pt x="334" y="344"/>
                  </a:lnTo>
                  <a:lnTo>
                    <a:pt x="336" y="324"/>
                  </a:lnTo>
                  <a:lnTo>
                    <a:pt x="344" y="314"/>
                  </a:lnTo>
                  <a:lnTo>
                    <a:pt x="362" y="304"/>
                  </a:lnTo>
                  <a:lnTo>
                    <a:pt x="372" y="300"/>
                  </a:lnTo>
                  <a:lnTo>
                    <a:pt x="376" y="284"/>
                  </a:lnTo>
                  <a:lnTo>
                    <a:pt x="380" y="272"/>
                  </a:lnTo>
                  <a:lnTo>
                    <a:pt x="394" y="262"/>
                  </a:lnTo>
                  <a:lnTo>
                    <a:pt x="398" y="254"/>
                  </a:lnTo>
                  <a:lnTo>
                    <a:pt x="394" y="246"/>
                  </a:lnTo>
                  <a:lnTo>
                    <a:pt x="394" y="234"/>
                  </a:lnTo>
                  <a:lnTo>
                    <a:pt x="406" y="226"/>
                  </a:lnTo>
                  <a:lnTo>
                    <a:pt x="418" y="204"/>
                  </a:lnTo>
                  <a:lnTo>
                    <a:pt x="428" y="206"/>
                  </a:lnTo>
                  <a:lnTo>
                    <a:pt x="444" y="192"/>
                  </a:lnTo>
                  <a:lnTo>
                    <a:pt x="442" y="182"/>
                  </a:lnTo>
                  <a:lnTo>
                    <a:pt x="452" y="170"/>
                  </a:lnTo>
                  <a:lnTo>
                    <a:pt x="458" y="174"/>
                  </a:lnTo>
                  <a:lnTo>
                    <a:pt x="470" y="170"/>
                  </a:lnTo>
                  <a:lnTo>
                    <a:pt x="486" y="174"/>
                  </a:lnTo>
                  <a:lnTo>
                    <a:pt x="508" y="154"/>
                  </a:lnTo>
                  <a:lnTo>
                    <a:pt x="504" y="144"/>
                  </a:lnTo>
                  <a:lnTo>
                    <a:pt x="508" y="138"/>
                  </a:lnTo>
                  <a:lnTo>
                    <a:pt x="502" y="136"/>
                  </a:lnTo>
                  <a:lnTo>
                    <a:pt x="514" y="126"/>
                  </a:lnTo>
                  <a:lnTo>
                    <a:pt x="530" y="124"/>
                  </a:lnTo>
                  <a:lnTo>
                    <a:pt x="540" y="138"/>
                  </a:lnTo>
                  <a:lnTo>
                    <a:pt x="560" y="160"/>
                  </a:lnTo>
                  <a:lnTo>
                    <a:pt x="568" y="160"/>
                  </a:lnTo>
                  <a:lnTo>
                    <a:pt x="578" y="152"/>
                  </a:lnTo>
                  <a:lnTo>
                    <a:pt x="586" y="150"/>
                  </a:lnTo>
                  <a:lnTo>
                    <a:pt x="592" y="152"/>
                  </a:lnTo>
                  <a:lnTo>
                    <a:pt x="600" y="160"/>
                  </a:lnTo>
                  <a:lnTo>
                    <a:pt x="612" y="162"/>
                  </a:lnTo>
                  <a:lnTo>
                    <a:pt x="614" y="160"/>
                  </a:lnTo>
                  <a:lnTo>
                    <a:pt x="620" y="150"/>
                  </a:lnTo>
                  <a:lnTo>
                    <a:pt x="622" y="144"/>
                  </a:lnTo>
                  <a:lnTo>
                    <a:pt x="634" y="126"/>
                  </a:lnTo>
                  <a:lnTo>
                    <a:pt x="636" y="124"/>
                  </a:lnTo>
                  <a:lnTo>
                    <a:pt x="634" y="96"/>
                  </a:lnTo>
                  <a:lnTo>
                    <a:pt x="648" y="84"/>
                  </a:lnTo>
                  <a:lnTo>
                    <a:pt x="652" y="86"/>
                  </a:lnTo>
                  <a:lnTo>
                    <a:pt x="668" y="70"/>
                  </a:lnTo>
                  <a:lnTo>
                    <a:pt x="682" y="86"/>
                  </a:lnTo>
                  <a:lnTo>
                    <a:pt x="688" y="92"/>
                  </a:lnTo>
                  <a:lnTo>
                    <a:pt x="696" y="88"/>
                  </a:lnTo>
                  <a:lnTo>
                    <a:pt x="702" y="96"/>
                  </a:lnTo>
                  <a:lnTo>
                    <a:pt x="702" y="102"/>
                  </a:lnTo>
                  <a:lnTo>
                    <a:pt x="708" y="108"/>
                  </a:lnTo>
                  <a:lnTo>
                    <a:pt x="708" y="116"/>
                  </a:lnTo>
                  <a:lnTo>
                    <a:pt x="716" y="104"/>
                  </a:lnTo>
                  <a:lnTo>
                    <a:pt x="730" y="94"/>
                  </a:lnTo>
                  <a:lnTo>
                    <a:pt x="738" y="78"/>
                  </a:lnTo>
                  <a:lnTo>
                    <a:pt x="732" y="76"/>
                  </a:lnTo>
                  <a:lnTo>
                    <a:pt x="724" y="84"/>
                  </a:lnTo>
                  <a:lnTo>
                    <a:pt x="722" y="70"/>
                  </a:lnTo>
                  <a:lnTo>
                    <a:pt x="716" y="68"/>
                  </a:lnTo>
                  <a:lnTo>
                    <a:pt x="714" y="60"/>
                  </a:lnTo>
                  <a:lnTo>
                    <a:pt x="734" y="42"/>
                  </a:lnTo>
                  <a:lnTo>
                    <a:pt x="744" y="46"/>
                  </a:lnTo>
                  <a:lnTo>
                    <a:pt x="746" y="34"/>
                  </a:lnTo>
                  <a:lnTo>
                    <a:pt x="740" y="32"/>
                  </a:lnTo>
                  <a:lnTo>
                    <a:pt x="726" y="28"/>
                  </a:lnTo>
                  <a:lnTo>
                    <a:pt x="718" y="24"/>
                  </a:lnTo>
                  <a:lnTo>
                    <a:pt x="708" y="14"/>
                  </a:lnTo>
                  <a:lnTo>
                    <a:pt x="696" y="12"/>
                  </a:lnTo>
                  <a:lnTo>
                    <a:pt x="684" y="22"/>
                  </a:lnTo>
                  <a:lnTo>
                    <a:pt x="680" y="30"/>
                  </a:lnTo>
                  <a:lnTo>
                    <a:pt x="668" y="22"/>
                  </a:lnTo>
                  <a:lnTo>
                    <a:pt x="674" y="16"/>
                  </a:lnTo>
                  <a:lnTo>
                    <a:pt x="676" y="4"/>
                  </a:lnTo>
                  <a:lnTo>
                    <a:pt x="674" y="0"/>
                  </a:lnTo>
                  <a:lnTo>
                    <a:pt x="660" y="0"/>
                  </a:lnTo>
                  <a:lnTo>
                    <a:pt x="658" y="6"/>
                  </a:lnTo>
                  <a:lnTo>
                    <a:pt x="656" y="14"/>
                  </a:lnTo>
                  <a:lnTo>
                    <a:pt x="658" y="22"/>
                  </a:lnTo>
                  <a:lnTo>
                    <a:pt x="648" y="32"/>
                  </a:lnTo>
                  <a:lnTo>
                    <a:pt x="638" y="16"/>
                  </a:lnTo>
                  <a:lnTo>
                    <a:pt x="630" y="20"/>
                  </a:lnTo>
                  <a:lnTo>
                    <a:pt x="628" y="32"/>
                  </a:lnTo>
                  <a:lnTo>
                    <a:pt x="622" y="50"/>
                  </a:lnTo>
                  <a:lnTo>
                    <a:pt x="608" y="64"/>
                  </a:lnTo>
                  <a:lnTo>
                    <a:pt x="600" y="48"/>
                  </a:lnTo>
                  <a:lnTo>
                    <a:pt x="614" y="38"/>
                  </a:lnTo>
                  <a:lnTo>
                    <a:pt x="618" y="22"/>
                  </a:lnTo>
                  <a:lnTo>
                    <a:pt x="608" y="22"/>
                  </a:lnTo>
                  <a:lnTo>
                    <a:pt x="594" y="22"/>
                  </a:lnTo>
                  <a:lnTo>
                    <a:pt x="584" y="38"/>
                  </a:lnTo>
                  <a:lnTo>
                    <a:pt x="570" y="60"/>
                  </a:lnTo>
                  <a:lnTo>
                    <a:pt x="576" y="70"/>
                  </a:lnTo>
                  <a:lnTo>
                    <a:pt x="568" y="76"/>
                  </a:lnTo>
                  <a:lnTo>
                    <a:pt x="556" y="68"/>
                  </a:lnTo>
                  <a:lnTo>
                    <a:pt x="546" y="72"/>
                  </a:lnTo>
                  <a:lnTo>
                    <a:pt x="548" y="84"/>
                  </a:lnTo>
                  <a:lnTo>
                    <a:pt x="536" y="84"/>
                  </a:lnTo>
                  <a:lnTo>
                    <a:pt x="526" y="86"/>
                  </a:lnTo>
                  <a:lnTo>
                    <a:pt x="516" y="100"/>
                  </a:lnTo>
                  <a:lnTo>
                    <a:pt x="502" y="96"/>
                  </a:lnTo>
                  <a:lnTo>
                    <a:pt x="502" y="104"/>
                  </a:lnTo>
                  <a:lnTo>
                    <a:pt x="490" y="96"/>
                  </a:lnTo>
                  <a:lnTo>
                    <a:pt x="478" y="102"/>
                  </a:lnTo>
                  <a:lnTo>
                    <a:pt x="474" y="112"/>
                  </a:lnTo>
                  <a:lnTo>
                    <a:pt x="464" y="116"/>
                  </a:lnTo>
                  <a:lnTo>
                    <a:pt x="456" y="104"/>
                  </a:lnTo>
                  <a:lnTo>
                    <a:pt x="440" y="108"/>
                  </a:lnTo>
                  <a:lnTo>
                    <a:pt x="424" y="112"/>
                  </a:lnTo>
                  <a:lnTo>
                    <a:pt x="424" y="128"/>
                  </a:lnTo>
                  <a:lnTo>
                    <a:pt x="434" y="132"/>
                  </a:lnTo>
                  <a:lnTo>
                    <a:pt x="434" y="136"/>
                  </a:lnTo>
                  <a:lnTo>
                    <a:pt x="434" y="146"/>
                  </a:lnTo>
                  <a:lnTo>
                    <a:pt x="426" y="144"/>
                  </a:lnTo>
                  <a:lnTo>
                    <a:pt x="416" y="150"/>
                  </a:lnTo>
                  <a:lnTo>
                    <a:pt x="418" y="160"/>
                  </a:lnTo>
                  <a:lnTo>
                    <a:pt x="428" y="168"/>
                  </a:lnTo>
                  <a:lnTo>
                    <a:pt x="428" y="182"/>
                  </a:lnTo>
                  <a:lnTo>
                    <a:pt x="418" y="176"/>
                  </a:lnTo>
                  <a:lnTo>
                    <a:pt x="410" y="178"/>
                  </a:lnTo>
                  <a:lnTo>
                    <a:pt x="410" y="190"/>
                  </a:lnTo>
                  <a:lnTo>
                    <a:pt x="398" y="190"/>
                  </a:lnTo>
                  <a:lnTo>
                    <a:pt x="386" y="190"/>
                  </a:lnTo>
                  <a:lnTo>
                    <a:pt x="384" y="198"/>
                  </a:lnTo>
                  <a:lnTo>
                    <a:pt x="380" y="204"/>
                  </a:lnTo>
                  <a:lnTo>
                    <a:pt x="372" y="206"/>
                  </a:lnTo>
                  <a:lnTo>
                    <a:pt x="370" y="212"/>
                  </a:lnTo>
                  <a:lnTo>
                    <a:pt x="372" y="218"/>
                  </a:lnTo>
                  <a:lnTo>
                    <a:pt x="356" y="224"/>
                  </a:lnTo>
                  <a:lnTo>
                    <a:pt x="368" y="234"/>
                  </a:lnTo>
                  <a:lnTo>
                    <a:pt x="370" y="240"/>
                  </a:lnTo>
                  <a:lnTo>
                    <a:pt x="358" y="248"/>
                  </a:lnTo>
                  <a:lnTo>
                    <a:pt x="340" y="262"/>
                  </a:lnTo>
                  <a:lnTo>
                    <a:pt x="326" y="272"/>
                  </a:lnTo>
                  <a:lnTo>
                    <a:pt x="316" y="288"/>
                  </a:lnTo>
                  <a:lnTo>
                    <a:pt x="302" y="300"/>
                  </a:lnTo>
                  <a:lnTo>
                    <a:pt x="302" y="306"/>
                  </a:lnTo>
                  <a:lnTo>
                    <a:pt x="306" y="314"/>
                  </a:lnTo>
                  <a:lnTo>
                    <a:pt x="294" y="324"/>
                  </a:lnTo>
                  <a:lnTo>
                    <a:pt x="298" y="334"/>
                  </a:lnTo>
                  <a:lnTo>
                    <a:pt x="286" y="352"/>
                  </a:lnTo>
                  <a:lnTo>
                    <a:pt x="278" y="356"/>
                  </a:lnTo>
                  <a:lnTo>
                    <a:pt x="278" y="370"/>
                  </a:lnTo>
                  <a:lnTo>
                    <a:pt x="284" y="376"/>
                  </a:lnTo>
                  <a:lnTo>
                    <a:pt x="276" y="384"/>
                  </a:lnTo>
                  <a:lnTo>
                    <a:pt x="270" y="380"/>
                  </a:lnTo>
                  <a:lnTo>
                    <a:pt x="260" y="384"/>
                  </a:lnTo>
                  <a:lnTo>
                    <a:pt x="262" y="400"/>
                  </a:lnTo>
                  <a:lnTo>
                    <a:pt x="252" y="406"/>
                  </a:lnTo>
                  <a:lnTo>
                    <a:pt x="236" y="408"/>
                  </a:lnTo>
                  <a:lnTo>
                    <a:pt x="224" y="422"/>
                  </a:lnTo>
                  <a:lnTo>
                    <a:pt x="222" y="436"/>
                  </a:lnTo>
                  <a:lnTo>
                    <a:pt x="210" y="446"/>
                  </a:lnTo>
                  <a:lnTo>
                    <a:pt x="210" y="454"/>
                  </a:lnTo>
                  <a:lnTo>
                    <a:pt x="224" y="444"/>
                  </a:lnTo>
                  <a:lnTo>
                    <a:pt x="240" y="432"/>
                  </a:lnTo>
                  <a:lnTo>
                    <a:pt x="246" y="436"/>
                  </a:lnTo>
                  <a:lnTo>
                    <a:pt x="240" y="452"/>
                  </a:lnTo>
                  <a:lnTo>
                    <a:pt x="228" y="460"/>
                  </a:lnTo>
                  <a:lnTo>
                    <a:pt x="214" y="458"/>
                  </a:lnTo>
                  <a:lnTo>
                    <a:pt x="216" y="468"/>
                  </a:lnTo>
                  <a:lnTo>
                    <a:pt x="196" y="476"/>
                  </a:lnTo>
                  <a:lnTo>
                    <a:pt x="194" y="460"/>
                  </a:lnTo>
                  <a:lnTo>
                    <a:pt x="186" y="454"/>
                  </a:lnTo>
                  <a:lnTo>
                    <a:pt x="174" y="470"/>
                  </a:lnTo>
                  <a:lnTo>
                    <a:pt x="164" y="470"/>
                  </a:lnTo>
                  <a:lnTo>
                    <a:pt x="152" y="472"/>
                  </a:lnTo>
                  <a:lnTo>
                    <a:pt x="150" y="486"/>
                  </a:lnTo>
                  <a:lnTo>
                    <a:pt x="144" y="488"/>
                  </a:lnTo>
                  <a:lnTo>
                    <a:pt x="144" y="496"/>
                  </a:lnTo>
                  <a:lnTo>
                    <a:pt x="138" y="494"/>
                  </a:lnTo>
                  <a:lnTo>
                    <a:pt x="128" y="488"/>
                  </a:lnTo>
                  <a:lnTo>
                    <a:pt x="114" y="488"/>
                  </a:lnTo>
                  <a:lnTo>
                    <a:pt x="114" y="496"/>
                  </a:lnTo>
                  <a:lnTo>
                    <a:pt x="114" y="504"/>
                  </a:lnTo>
                  <a:lnTo>
                    <a:pt x="110" y="506"/>
                  </a:lnTo>
                  <a:lnTo>
                    <a:pt x="96" y="500"/>
                  </a:lnTo>
                  <a:lnTo>
                    <a:pt x="84" y="510"/>
                  </a:lnTo>
                  <a:lnTo>
                    <a:pt x="86" y="516"/>
                  </a:lnTo>
                  <a:lnTo>
                    <a:pt x="84" y="522"/>
                  </a:lnTo>
                  <a:lnTo>
                    <a:pt x="72" y="516"/>
                  </a:lnTo>
                  <a:lnTo>
                    <a:pt x="68" y="524"/>
                  </a:lnTo>
                  <a:lnTo>
                    <a:pt x="64" y="530"/>
                  </a:lnTo>
                  <a:lnTo>
                    <a:pt x="50" y="526"/>
                  </a:lnTo>
                  <a:lnTo>
                    <a:pt x="42" y="528"/>
                  </a:lnTo>
                  <a:lnTo>
                    <a:pt x="40" y="538"/>
                  </a:lnTo>
                  <a:lnTo>
                    <a:pt x="34" y="542"/>
                  </a:lnTo>
                  <a:lnTo>
                    <a:pt x="26" y="554"/>
                  </a:lnTo>
                  <a:lnTo>
                    <a:pt x="28" y="568"/>
                  </a:lnTo>
                  <a:lnTo>
                    <a:pt x="24" y="590"/>
                  </a:lnTo>
                  <a:lnTo>
                    <a:pt x="20" y="612"/>
                  </a:lnTo>
                  <a:lnTo>
                    <a:pt x="18" y="632"/>
                  </a:lnTo>
                  <a:lnTo>
                    <a:pt x="14" y="642"/>
                  </a:lnTo>
                  <a:lnTo>
                    <a:pt x="22" y="652"/>
                  </a:lnTo>
                  <a:lnTo>
                    <a:pt x="34" y="644"/>
                  </a:lnTo>
                  <a:lnTo>
                    <a:pt x="42" y="648"/>
                  </a:lnTo>
                  <a:lnTo>
                    <a:pt x="42" y="656"/>
                  </a:lnTo>
                  <a:lnTo>
                    <a:pt x="30" y="662"/>
                  </a:lnTo>
                  <a:lnTo>
                    <a:pt x="28" y="676"/>
                  </a:lnTo>
                  <a:lnTo>
                    <a:pt x="26" y="682"/>
                  </a:lnTo>
                  <a:lnTo>
                    <a:pt x="14" y="680"/>
                  </a:lnTo>
                  <a:lnTo>
                    <a:pt x="10" y="696"/>
                  </a:lnTo>
                  <a:lnTo>
                    <a:pt x="14" y="700"/>
                  </a:lnTo>
                  <a:lnTo>
                    <a:pt x="26" y="698"/>
                  </a:lnTo>
                  <a:lnTo>
                    <a:pt x="32" y="706"/>
                  </a:lnTo>
                  <a:lnTo>
                    <a:pt x="32" y="708"/>
                  </a:lnTo>
                  <a:lnTo>
                    <a:pt x="24" y="714"/>
                  </a:lnTo>
                  <a:lnTo>
                    <a:pt x="24" y="724"/>
                  </a:lnTo>
                  <a:lnTo>
                    <a:pt x="14" y="726"/>
                  </a:lnTo>
                  <a:lnTo>
                    <a:pt x="6" y="722"/>
                  </a:lnTo>
                  <a:lnTo>
                    <a:pt x="8" y="734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16" y="760"/>
                  </a:lnTo>
                  <a:lnTo>
                    <a:pt x="24" y="770"/>
                  </a:lnTo>
                  <a:lnTo>
                    <a:pt x="28" y="782"/>
                  </a:lnTo>
                  <a:lnTo>
                    <a:pt x="44" y="792"/>
                  </a:lnTo>
                  <a:lnTo>
                    <a:pt x="62" y="802"/>
                  </a:lnTo>
                  <a:lnTo>
                    <a:pt x="80" y="802"/>
                  </a:lnTo>
                  <a:lnTo>
                    <a:pt x="104" y="786"/>
                  </a:lnTo>
                  <a:lnTo>
                    <a:pt x="128" y="768"/>
                  </a:lnTo>
                  <a:lnTo>
                    <a:pt x="150" y="738"/>
                  </a:lnTo>
                  <a:lnTo>
                    <a:pt x="154" y="736"/>
                  </a:lnTo>
                  <a:lnTo>
                    <a:pt x="160" y="746"/>
                  </a:lnTo>
                  <a:lnTo>
                    <a:pt x="172" y="738"/>
                  </a:lnTo>
                  <a:lnTo>
                    <a:pt x="174" y="728"/>
                  </a:lnTo>
                  <a:lnTo>
                    <a:pt x="176" y="714"/>
                  </a:lnTo>
                  <a:lnTo>
                    <a:pt x="188" y="698"/>
                  </a:lnTo>
                  <a:lnTo>
                    <a:pt x="182" y="716"/>
                  </a:lnTo>
                  <a:lnTo>
                    <a:pt x="188" y="720"/>
                  </a:lnTo>
                  <a:lnTo>
                    <a:pt x="186" y="728"/>
                  </a:lnTo>
                  <a:lnTo>
                    <a:pt x="188" y="742"/>
                  </a:lnTo>
                  <a:lnTo>
                    <a:pt x="194" y="754"/>
                  </a:lnTo>
                  <a:lnTo>
                    <a:pt x="200" y="750"/>
                  </a:lnTo>
                  <a:lnTo>
                    <a:pt x="200" y="75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41" name="Freeform 135"/>
            <p:cNvSpPr>
              <a:spLocks/>
            </p:cNvSpPr>
            <p:nvPr/>
          </p:nvSpPr>
          <p:spPr bwMode="auto">
            <a:xfrm>
              <a:off x="1800006" y="1462186"/>
              <a:ext cx="513386" cy="582743"/>
            </a:xfrm>
            <a:custGeom>
              <a:avLst/>
              <a:gdLst>
                <a:gd name="T0" fmla="*/ 218 w 746"/>
                <a:gd name="T1" fmla="*/ 732 h 802"/>
                <a:gd name="T2" fmla="*/ 248 w 746"/>
                <a:gd name="T3" fmla="*/ 686 h 802"/>
                <a:gd name="T4" fmla="*/ 240 w 746"/>
                <a:gd name="T5" fmla="*/ 624 h 802"/>
                <a:gd name="T6" fmla="*/ 246 w 746"/>
                <a:gd name="T7" fmla="*/ 572 h 802"/>
                <a:gd name="T8" fmla="*/ 260 w 746"/>
                <a:gd name="T9" fmla="*/ 496 h 802"/>
                <a:gd name="T10" fmla="*/ 298 w 746"/>
                <a:gd name="T11" fmla="*/ 446 h 802"/>
                <a:gd name="T12" fmla="*/ 316 w 746"/>
                <a:gd name="T13" fmla="*/ 406 h 802"/>
                <a:gd name="T14" fmla="*/ 332 w 746"/>
                <a:gd name="T15" fmla="*/ 366 h 802"/>
                <a:gd name="T16" fmla="*/ 372 w 746"/>
                <a:gd name="T17" fmla="*/ 300 h 802"/>
                <a:gd name="T18" fmla="*/ 394 w 746"/>
                <a:gd name="T19" fmla="*/ 246 h 802"/>
                <a:gd name="T20" fmla="*/ 444 w 746"/>
                <a:gd name="T21" fmla="*/ 192 h 802"/>
                <a:gd name="T22" fmla="*/ 486 w 746"/>
                <a:gd name="T23" fmla="*/ 174 h 802"/>
                <a:gd name="T24" fmla="*/ 514 w 746"/>
                <a:gd name="T25" fmla="*/ 126 h 802"/>
                <a:gd name="T26" fmla="*/ 578 w 746"/>
                <a:gd name="T27" fmla="*/ 152 h 802"/>
                <a:gd name="T28" fmla="*/ 614 w 746"/>
                <a:gd name="T29" fmla="*/ 160 h 802"/>
                <a:gd name="T30" fmla="*/ 634 w 746"/>
                <a:gd name="T31" fmla="*/ 96 h 802"/>
                <a:gd name="T32" fmla="*/ 688 w 746"/>
                <a:gd name="T33" fmla="*/ 92 h 802"/>
                <a:gd name="T34" fmla="*/ 708 w 746"/>
                <a:gd name="T35" fmla="*/ 116 h 802"/>
                <a:gd name="T36" fmla="*/ 724 w 746"/>
                <a:gd name="T37" fmla="*/ 84 h 802"/>
                <a:gd name="T38" fmla="*/ 744 w 746"/>
                <a:gd name="T39" fmla="*/ 46 h 802"/>
                <a:gd name="T40" fmla="*/ 708 w 746"/>
                <a:gd name="T41" fmla="*/ 14 h 802"/>
                <a:gd name="T42" fmla="*/ 674 w 746"/>
                <a:gd name="T43" fmla="*/ 16 h 802"/>
                <a:gd name="T44" fmla="*/ 656 w 746"/>
                <a:gd name="T45" fmla="*/ 14 h 802"/>
                <a:gd name="T46" fmla="*/ 628 w 746"/>
                <a:gd name="T47" fmla="*/ 32 h 802"/>
                <a:gd name="T48" fmla="*/ 618 w 746"/>
                <a:gd name="T49" fmla="*/ 22 h 802"/>
                <a:gd name="T50" fmla="*/ 576 w 746"/>
                <a:gd name="T51" fmla="*/ 70 h 802"/>
                <a:gd name="T52" fmla="*/ 536 w 746"/>
                <a:gd name="T53" fmla="*/ 84 h 802"/>
                <a:gd name="T54" fmla="*/ 490 w 746"/>
                <a:gd name="T55" fmla="*/ 96 h 802"/>
                <a:gd name="T56" fmla="*/ 440 w 746"/>
                <a:gd name="T57" fmla="*/ 108 h 802"/>
                <a:gd name="T58" fmla="*/ 434 w 746"/>
                <a:gd name="T59" fmla="*/ 146 h 802"/>
                <a:gd name="T60" fmla="*/ 428 w 746"/>
                <a:gd name="T61" fmla="*/ 182 h 802"/>
                <a:gd name="T62" fmla="*/ 386 w 746"/>
                <a:gd name="T63" fmla="*/ 190 h 802"/>
                <a:gd name="T64" fmla="*/ 372 w 746"/>
                <a:gd name="T65" fmla="*/ 218 h 802"/>
                <a:gd name="T66" fmla="*/ 340 w 746"/>
                <a:gd name="T67" fmla="*/ 262 h 802"/>
                <a:gd name="T68" fmla="*/ 306 w 746"/>
                <a:gd name="T69" fmla="*/ 314 h 802"/>
                <a:gd name="T70" fmla="*/ 278 w 746"/>
                <a:gd name="T71" fmla="*/ 370 h 802"/>
                <a:gd name="T72" fmla="*/ 262 w 746"/>
                <a:gd name="T73" fmla="*/ 400 h 802"/>
                <a:gd name="T74" fmla="*/ 210 w 746"/>
                <a:gd name="T75" fmla="*/ 446 h 802"/>
                <a:gd name="T76" fmla="*/ 240 w 746"/>
                <a:gd name="T77" fmla="*/ 452 h 802"/>
                <a:gd name="T78" fmla="*/ 194 w 746"/>
                <a:gd name="T79" fmla="*/ 460 h 802"/>
                <a:gd name="T80" fmla="*/ 150 w 746"/>
                <a:gd name="T81" fmla="*/ 486 h 802"/>
                <a:gd name="T82" fmla="*/ 114 w 746"/>
                <a:gd name="T83" fmla="*/ 488 h 802"/>
                <a:gd name="T84" fmla="*/ 84 w 746"/>
                <a:gd name="T85" fmla="*/ 510 h 802"/>
                <a:gd name="T86" fmla="*/ 64 w 746"/>
                <a:gd name="T87" fmla="*/ 530 h 802"/>
                <a:gd name="T88" fmla="*/ 26 w 746"/>
                <a:gd name="T89" fmla="*/ 554 h 802"/>
                <a:gd name="T90" fmla="*/ 14 w 746"/>
                <a:gd name="T91" fmla="*/ 642 h 802"/>
                <a:gd name="T92" fmla="*/ 30 w 746"/>
                <a:gd name="T93" fmla="*/ 662 h 802"/>
                <a:gd name="T94" fmla="*/ 14 w 746"/>
                <a:gd name="T95" fmla="*/ 700 h 802"/>
                <a:gd name="T96" fmla="*/ 24 w 746"/>
                <a:gd name="T97" fmla="*/ 724 h 802"/>
                <a:gd name="T98" fmla="*/ 0 w 746"/>
                <a:gd name="T99" fmla="*/ 744 h 802"/>
                <a:gd name="T100" fmla="*/ 62 w 746"/>
                <a:gd name="T101" fmla="*/ 802 h 802"/>
                <a:gd name="T102" fmla="*/ 154 w 746"/>
                <a:gd name="T103" fmla="*/ 736 h 802"/>
                <a:gd name="T104" fmla="*/ 188 w 746"/>
                <a:gd name="T105" fmla="*/ 698 h 802"/>
                <a:gd name="T106" fmla="*/ 194 w 746"/>
                <a:gd name="T107" fmla="*/ 754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46" h="802">
                  <a:moveTo>
                    <a:pt x="200" y="754"/>
                  </a:moveTo>
                  <a:lnTo>
                    <a:pt x="202" y="752"/>
                  </a:lnTo>
                  <a:lnTo>
                    <a:pt x="210" y="750"/>
                  </a:lnTo>
                  <a:lnTo>
                    <a:pt x="216" y="742"/>
                  </a:lnTo>
                  <a:lnTo>
                    <a:pt x="218" y="732"/>
                  </a:lnTo>
                  <a:lnTo>
                    <a:pt x="222" y="726"/>
                  </a:lnTo>
                  <a:lnTo>
                    <a:pt x="218" y="710"/>
                  </a:lnTo>
                  <a:lnTo>
                    <a:pt x="222" y="700"/>
                  </a:lnTo>
                  <a:lnTo>
                    <a:pt x="230" y="694"/>
                  </a:lnTo>
                  <a:lnTo>
                    <a:pt x="248" y="686"/>
                  </a:lnTo>
                  <a:lnTo>
                    <a:pt x="252" y="678"/>
                  </a:lnTo>
                  <a:lnTo>
                    <a:pt x="248" y="652"/>
                  </a:lnTo>
                  <a:lnTo>
                    <a:pt x="246" y="646"/>
                  </a:lnTo>
                  <a:lnTo>
                    <a:pt x="246" y="630"/>
                  </a:lnTo>
                  <a:lnTo>
                    <a:pt x="240" y="624"/>
                  </a:lnTo>
                  <a:lnTo>
                    <a:pt x="244" y="612"/>
                  </a:lnTo>
                  <a:lnTo>
                    <a:pt x="248" y="612"/>
                  </a:lnTo>
                  <a:lnTo>
                    <a:pt x="262" y="604"/>
                  </a:lnTo>
                  <a:lnTo>
                    <a:pt x="252" y="580"/>
                  </a:lnTo>
                  <a:lnTo>
                    <a:pt x="246" y="572"/>
                  </a:lnTo>
                  <a:lnTo>
                    <a:pt x="246" y="568"/>
                  </a:lnTo>
                  <a:lnTo>
                    <a:pt x="246" y="548"/>
                  </a:lnTo>
                  <a:lnTo>
                    <a:pt x="254" y="532"/>
                  </a:lnTo>
                  <a:lnTo>
                    <a:pt x="256" y="516"/>
                  </a:lnTo>
                  <a:lnTo>
                    <a:pt x="260" y="496"/>
                  </a:lnTo>
                  <a:lnTo>
                    <a:pt x="256" y="480"/>
                  </a:lnTo>
                  <a:lnTo>
                    <a:pt x="262" y="470"/>
                  </a:lnTo>
                  <a:lnTo>
                    <a:pt x="266" y="462"/>
                  </a:lnTo>
                  <a:lnTo>
                    <a:pt x="282" y="452"/>
                  </a:lnTo>
                  <a:lnTo>
                    <a:pt x="298" y="446"/>
                  </a:lnTo>
                  <a:lnTo>
                    <a:pt x="312" y="452"/>
                  </a:lnTo>
                  <a:lnTo>
                    <a:pt x="316" y="454"/>
                  </a:lnTo>
                  <a:lnTo>
                    <a:pt x="326" y="444"/>
                  </a:lnTo>
                  <a:lnTo>
                    <a:pt x="326" y="430"/>
                  </a:lnTo>
                  <a:lnTo>
                    <a:pt x="316" y="406"/>
                  </a:lnTo>
                  <a:lnTo>
                    <a:pt x="314" y="396"/>
                  </a:lnTo>
                  <a:lnTo>
                    <a:pt x="316" y="390"/>
                  </a:lnTo>
                  <a:lnTo>
                    <a:pt x="322" y="390"/>
                  </a:lnTo>
                  <a:lnTo>
                    <a:pt x="328" y="382"/>
                  </a:lnTo>
                  <a:lnTo>
                    <a:pt x="332" y="366"/>
                  </a:lnTo>
                  <a:lnTo>
                    <a:pt x="334" y="344"/>
                  </a:lnTo>
                  <a:lnTo>
                    <a:pt x="336" y="324"/>
                  </a:lnTo>
                  <a:lnTo>
                    <a:pt x="344" y="314"/>
                  </a:lnTo>
                  <a:lnTo>
                    <a:pt x="362" y="304"/>
                  </a:lnTo>
                  <a:lnTo>
                    <a:pt x="372" y="300"/>
                  </a:lnTo>
                  <a:lnTo>
                    <a:pt x="376" y="284"/>
                  </a:lnTo>
                  <a:lnTo>
                    <a:pt x="380" y="272"/>
                  </a:lnTo>
                  <a:lnTo>
                    <a:pt x="394" y="262"/>
                  </a:lnTo>
                  <a:lnTo>
                    <a:pt x="398" y="254"/>
                  </a:lnTo>
                  <a:lnTo>
                    <a:pt x="394" y="246"/>
                  </a:lnTo>
                  <a:lnTo>
                    <a:pt x="394" y="234"/>
                  </a:lnTo>
                  <a:lnTo>
                    <a:pt x="406" y="226"/>
                  </a:lnTo>
                  <a:lnTo>
                    <a:pt x="418" y="204"/>
                  </a:lnTo>
                  <a:lnTo>
                    <a:pt x="428" y="206"/>
                  </a:lnTo>
                  <a:lnTo>
                    <a:pt x="444" y="192"/>
                  </a:lnTo>
                  <a:lnTo>
                    <a:pt x="442" y="182"/>
                  </a:lnTo>
                  <a:lnTo>
                    <a:pt x="452" y="170"/>
                  </a:lnTo>
                  <a:lnTo>
                    <a:pt x="458" y="174"/>
                  </a:lnTo>
                  <a:lnTo>
                    <a:pt x="470" y="170"/>
                  </a:lnTo>
                  <a:lnTo>
                    <a:pt x="486" y="174"/>
                  </a:lnTo>
                  <a:lnTo>
                    <a:pt x="508" y="154"/>
                  </a:lnTo>
                  <a:lnTo>
                    <a:pt x="504" y="144"/>
                  </a:lnTo>
                  <a:lnTo>
                    <a:pt x="508" y="138"/>
                  </a:lnTo>
                  <a:lnTo>
                    <a:pt x="502" y="136"/>
                  </a:lnTo>
                  <a:lnTo>
                    <a:pt x="514" y="126"/>
                  </a:lnTo>
                  <a:lnTo>
                    <a:pt x="530" y="124"/>
                  </a:lnTo>
                  <a:lnTo>
                    <a:pt x="540" y="138"/>
                  </a:lnTo>
                  <a:lnTo>
                    <a:pt x="560" y="160"/>
                  </a:lnTo>
                  <a:lnTo>
                    <a:pt x="568" y="160"/>
                  </a:lnTo>
                  <a:lnTo>
                    <a:pt x="578" y="152"/>
                  </a:lnTo>
                  <a:lnTo>
                    <a:pt x="586" y="150"/>
                  </a:lnTo>
                  <a:lnTo>
                    <a:pt x="592" y="152"/>
                  </a:lnTo>
                  <a:lnTo>
                    <a:pt x="600" y="160"/>
                  </a:lnTo>
                  <a:lnTo>
                    <a:pt x="612" y="162"/>
                  </a:lnTo>
                  <a:lnTo>
                    <a:pt x="614" y="160"/>
                  </a:lnTo>
                  <a:lnTo>
                    <a:pt x="620" y="150"/>
                  </a:lnTo>
                  <a:lnTo>
                    <a:pt x="622" y="144"/>
                  </a:lnTo>
                  <a:lnTo>
                    <a:pt x="634" y="126"/>
                  </a:lnTo>
                  <a:lnTo>
                    <a:pt x="636" y="124"/>
                  </a:lnTo>
                  <a:lnTo>
                    <a:pt x="634" y="96"/>
                  </a:lnTo>
                  <a:lnTo>
                    <a:pt x="648" y="84"/>
                  </a:lnTo>
                  <a:lnTo>
                    <a:pt x="652" y="86"/>
                  </a:lnTo>
                  <a:lnTo>
                    <a:pt x="668" y="70"/>
                  </a:lnTo>
                  <a:lnTo>
                    <a:pt x="682" y="86"/>
                  </a:lnTo>
                  <a:lnTo>
                    <a:pt x="688" y="92"/>
                  </a:lnTo>
                  <a:lnTo>
                    <a:pt x="696" y="88"/>
                  </a:lnTo>
                  <a:lnTo>
                    <a:pt x="702" y="96"/>
                  </a:lnTo>
                  <a:lnTo>
                    <a:pt x="702" y="102"/>
                  </a:lnTo>
                  <a:lnTo>
                    <a:pt x="708" y="108"/>
                  </a:lnTo>
                  <a:lnTo>
                    <a:pt x="708" y="116"/>
                  </a:lnTo>
                  <a:lnTo>
                    <a:pt x="716" y="104"/>
                  </a:lnTo>
                  <a:lnTo>
                    <a:pt x="730" y="94"/>
                  </a:lnTo>
                  <a:lnTo>
                    <a:pt x="738" y="78"/>
                  </a:lnTo>
                  <a:lnTo>
                    <a:pt x="732" y="76"/>
                  </a:lnTo>
                  <a:lnTo>
                    <a:pt x="724" y="84"/>
                  </a:lnTo>
                  <a:lnTo>
                    <a:pt x="722" y="70"/>
                  </a:lnTo>
                  <a:lnTo>
                    <a:pt x="716" y="68"/>
                  </a:lnTo>
                  <a:lnTo>
                    <a:pt x="714" y="60"/>
                  </a:lnTo>
                  <a:lnTo>
                    <a:pt x="734" y="42"/>
                  </a:lnTo>
                  <a:lnTo>
                    <a:pt x="744" y="46"/>
                  </a:lnTo>
                  <a:lnTo>
                    <a:pt x="746" y="34"/>
                  </a:lnTo>
                  <a:lnTo>
                    <a:pt x="740" y="32"/>
                  </a:lnTo>
                  <a:lnTo>
                    <a:pt x="726" y="28"/>
                  </a:lnTo>
                  <a:lnTo>
                    <a:pt x="718" y="24"/>
                  </a:lnTo>
                  <a:lnTo>
                    <a:pt x="708" y="14"/>
                  </a:lnTo>
                  <a:lnTo>
                    <a:pt x="696" y="12"/>
                  </a:lnTo>
                  <a:lnTo>
                    <a:pt x="684" y="22"/>
                  </a:lnTo>
                  <a:lnTo>
                    <a:pt x="680" y="30"/>
                  </a:lnTo>
                  <a:lnTo>
                    <a:pt x="668" y="22"/>
                  </a:lnTo>
                  <a:lnTo>
                    <a:pt x="674" y="16"/>
                  </a:lnTo>
                  <a:lnTo>
                    <a:pt x="676" y="4"/>
                  </a:lnTo>
                  <a:lnTo>
                    <a:pt x="674" y="0"/>
                  </a:lnTo>
                  <a:lnTo>
                    <a:pt x="660" y="0"/>
                  </a:lnTo>
                  <a:lnTo>
                    <a:pt x="658" y="6"/>
                  </a:lnTo>
                  <a:lnTo>
                    <a:pt x="656" y="14"/>
                  </a:lnTo>
                  <a:lnTo>
                    <a:pt x="658" y="22"/>
                  </a:lnTo>
                  <a:lnTo>
                    <a:pt x="648" y="32"/>
                  </a:lnTo>
                  <a:lnTo>
                    <a:pt x="638" y="16"/>
                  </a:lnTo>
                  <a:lnTo>
                    <a:pt x="630" y="20"/>
                  </a:lnTo>
                  <a:lnTo>
                    <a:pt x="628" y="32"/>
                  </a:lnTo>
                  <a:lnTo>
                    <a:pt x="622" y="50"/>
                  </a:lnTo>
                  <a:lnTo>
                    <a:pt x="608" y="64"/>
                  </a:lnTo>
                  <a:lnTo>
                    <a:pt x="600" y="48"/>
                  </a:lnTo>
                  <a:lnTo>
                    <a:pt x="614" y="38"/>
                  </a:lnTo>
                  <a:lnTo>
                    <a:pt x="618" y="22"/>
                  </a:lnTo>
                  <a:lnTo>
                    <a:pt x="608" y="22"/>
                  </a:lnTo>
                  <a:lnTo>
                    <a:pt x="594" y="22"/>
                  </a:lnTo>
                  <a:lnTo>
                    <a:pt x="584" y="38"/>
                  </a:lnTo>
                  <a:lnTo>
                    <a:pt x="570" y="60"/>
                  </a:lnTo>
                  <a:lnTo>
                    <a:pt x="576" y="70"/>
                  </a:lnTo>
                  <a:lnTo>
                    <a:pt x="568" y="76"/>
                  </a:lnTo>
                  <a:lnTo>
                    <a:pt x="556" y="68"/>
                  </a:lnTo>
                  <a:lnTo>
                    <a:pt x="546" y="72"/>
                  </a:lnTo>
                  <a:lnTo>
                    <a:pt x="548" y="84"/>
                  </a:lnTo>
                  <a:lnTo>
                    <a:pt x="536" y="84"/>
                  </a:lnTo>
                  <a:lnTo>
                    <a:pt x="526" y="86"/>
                  </a:lnTo>
                  <a:lnTo>
                    <a:pt x="516" y="100"/>
                  </a:lnTo>
                  <a:lnTo>
                    <a:pt x="502" y="96"/>
                  </a:lnTo>
                  <a:lnTo>
                    <a:pt x="502" y="104"/>
                  </a:lnTo>
                  <a:lnTo>
                    <a:pt x="490" y="96"/>
                  </a:lnTo>
                  <a:lnTo>
                    <a:pt x="478" y="102"/>
                  </a:lnTo>
                  <a:lnTo>
                    <a:pt x="474" y="112"/>
                  </a:lnTo>
                  <a:lnTo>
                    <a:pt x="464" y="116"/>
                  </a:lnTo>
                  <a:lnTo>
                    <a:pt x="456" y="104"/>
                  </a:lnTo>
                  <a:lnTo>
                    <a:pt x="440" y="108"/>
                  </a:lnTo>
                  <a:lnTo>
                    <a:pt x="424" y="112"/>
                  </a:lnTo>
                  <a:lnTo>
                    <a:pt x="424" y="128"/>
                  </a:lnTo>
                  <a:lnTo>
                    <a:pt x="434" y="132"/>
                  </a:lnTo>
                  <a:lnTo>
                    <a:pt x="434" y="136"/>
                  </a:lnTo>
                  <a:lnTo>
                    <a:pt x="434" y="146"/>
                  </a:lnTo>
                  <a:lnTo>
                    <a:pt x="426" y="144"/>
                  </a:lnTo>
                  <a:lnTo>
                    <a:pt x="416" y="150"/>
                  </a:lnTo>
                  <a:lnTo>
                    <a:pt x="418" y="160"/>
                  </a:lnTo>
                  <a:lnTo>
                    <a:pt x="428" y="168"/>
                  </a:lnTo>
                  <a:lnTo>
                    <a:pt x="428" y="182"/>
                  </a:lnTo>
                  <a:lnTo>
                    <a:pt x="418" y="176"/>
                  </a:lnTo>
                  <a:lnTo>
                    <a:pt x="410" y="178"/>
                  </a:lnTo>
                  <a:lnTo>
                    <a:pt x="410" y="190"/>
                  </a:lnTo>
                  <a:lnTo>
                    <a:pt x="398" y="190"/>
                  </a:lnTo>
                  <a:lnTo>
                    <a:pt x="386" y="190"/>
                  </a:lnTo>
                  <a:lnTo>
                    <a:pt x="384" y="198"/>
                  </a:lnTo>
                  <a:lnTo>
                    <a:pt x="380" y="204"/>
                  </a:lnTo>
                  <a:lnTo>
                    <a:pt x="372" y="206"/>
                  </a:lnTo>
                  <a:lnTo>
                    <a:pt x="370" y="212"/>
                  </a:lnTo>
                  <a:lnTo>
                    <a:pt x="372" y="218"/>
                  </a:lnTo>
                  <a:lnTo>
                    <a:pt x="356" y="224"/>
                  </a:lnTo>
                  <a:lnTo>
                    <a:pt x="368" y="234"/>
                  </a:lnTo>
                  <a:lnTo>
                    <a:pt x="370" y="240"/>
                  </a:lnTo>
                  <a:lnTo>
                    <a:pt x="358" y="248"/>
                  </a:lnTo>
                  <a:lnTo>
                    <a:pt x="340" y="262"/>
                  </a:lnTo>
                  <a:lnTo>
                    <a:pt x="326" y="272"/>
                  </a:lnTo>
                  <a:lnTo>
                    <a:pt x="316" y="288"/>
                  </a:lnTo>
                  <a:lnTo>
                    <a:pt x="302" y="300"/>
                  </a:lnTo>
                  <a:lnTo>
                    <a:pt x="302" y="306"/>
                  </a:lnTo>
                  <a:lnTo>
                    <a:pt x="306" y="314"/>
                  </a:lnTo>
                  <a:lnTo>
                    <a:pt x="294" y="324"/>
                  </a:lnTo>
                  <a:lnTo>
                    <a:pt x="298" y="334"/>
                  </a:lnTo>
                  <a:lnTo>
                    <a:pt x="286" y="352"/>
                  </a:lnTo>
                  <a:lnTo>
                    <a:pt x="278" y="356"/>
                  </a:lnTo>
                  <a:lnTo>
                    <a:pt x="278" y="370"/>
                  </a:lnTo>
                  <a:lnTo>
                    <a:pt x="284" y="376"/>
                  </a:lnTo>
                  <a:lnTo>
                    <a:pt x="276" y="384"/>
                  </a:lnTo>
                  <a:lnTo>
                    <a:pt x="270" y="380"/>
                  </a:lnTo>
                  <a:lnTo>
                    <a:pt x="260" y="384"/>
                  </a:lnTo>
                  <a:lnTo>
                    <a:pt x="262" y="400"/>
                  </a:lnTo>
                  <a:lnTo>
                    <a:pt x="252" y="406"/>
                  </a:lnTo>
                  <a:lnTo>
                    <a:pt x="236" y="408"/>
                  </a:lnTo>
                  <a:lnTo>
                    <a:pt x="224" y="422"/>
                  </a:lnTo>
                  <a:lnTo>
                    <a:pt x="222" y="436"/>
                  </a:lnTo>
                  <a:lnTo>
                    <a:pt x="210" y="446"/>
                  </a:lnTo>
                  <a:lnTo>
                    <a:pt x="210" y="454"/>
                  </a:lnTo>
                  <a:lnTo>
                    <a:pt x="224" y="444"/>
                  </a:lnTo>
                  <a:lnTo>
                    <a:pt x="240" y="432"/>
                  </a:lnTo>
                  <a:lnTo>
                    <a:pt x="246" y="436"/>
                  </a:lnTo>
                  <a:lnTo>
                    <a:pt x="240" y="452"/>
                  </a:lnTo>
                  <a:lnTo>
                    <a:pt x="228" y="460"/>
                  </a:lnTo>
                  <a:lnTo>
                    <a:pt x="214" y="458"/>
                  </a:lnTo>
                  <a:lnTo>
                    <a:pt x="216" y="468"/>
                  </a:lnTo>
                  <a:lnTo>
                    <a:pt x="196" y="476"/>
                  </a:lnTo>
                  <a:lnTo>
                    <a:pt x="194" y="460"/>
                  </a:lnTo>
                  <a:lnTo>
                    <a:pt x="186" y="454"/>
                  </a:lnTo>
                  <a:lnTo>
                    <a:pt x="174" y="470"/>
                  </a:lnTo>
                  <a:lnTo>
                    <a:pt x="164" y="470"/>
                  </a:lnTo>
                  <a:lnTo>
                    <a:pt x="152" y="472"/>
                  </a:lnTo>
                  <a:lnTo>
                    <a:pt x="150" y="486"/>
                  </a:lnTo>
                  <a:lnTo>
                    <a:pt x="144" y="488"/>
                  </a:lnTo>
                  <a:lnTo>
                    <a:pt x="144" y="496"/>
                  </a:lnTo>
                  <a:lnTo>
                    <a:pt x="138" y="494"/>
                  </a:lnTo>
                  <a:lnTo>
                    <a:pt x="128" y="488"/>
                  </a:lnTo>
                  <a:lnTo>
                    <a:pt x="114" y="488"/>
                  </a:lnTo>
                  <a:lnTo>
                    <a:pt x="114" y="496"/>
                  </a:lnTo>
                  <a:lnTo>
                    <a:pt x="114" y="504"/>
                  </a:lnTo>
                  <a:lnTo>
                    <a:pt x="110" y="506"/>
                  </a:lnTo>
                  <a:lnTo>
                    <a:pt x="96" y="500"/>
                  </a:lnTo>
                  <a:lnTo>
                    <a:pt x="84" y="510"/>
                  </a:lnTo>
                  <a:lnTo>
                    <a:pt x="86" y="516"/>
                  </a:lnTo>
                  <a:lnTo>
                    <a:pt x="84" y="522"/>
                  </a:lnTo>
                  <a:lnTo>
                    <a:pt x="72" y="516"/>
                  </a:lnTo>
                  <a:lnTo>
                    <a:pt x="68" y="524"/>
                  </a:lnTo>
                  <a:lnTo>
                    <a:pt x="64" y="530"/>
                  </a:lnTo>
                  <a:lnTo>
                    <a:pt x="50" y="526"/>
                  </a:lnTo>
                  <a:lnTo>
                    <a:pt x="42" y="528"/>
                  </a:lnTo>
                  <a:lnTo>
                    <a:pt x="40" y="538"/>
                  </a:lnTo>
                  <a:lnTo>
                    <a:pt x="34" y="542"/>
                  </a:lnTo>
                  <a:lnTo>
                    <a:pt x="26" y="554"/>
                  </a:lnTo>
                  <a:lnTo>
                    <a:pt x="28" y="568"/>
                  </a:lnTo>
                  <a:lnTo>
                    <a:pt x="24" y="590"/>
                  </a:lnTo>
                  <a:lnTo>
                    <a:pt x="20" y="612"/>
                  </a:lnTo>
                  <a:lnTo>
                    <a:pt x="18" y="632"/>
                  </a:lnTo>
                  <a:lnTo>
                    <a:pt x="14" y="642"/>
                  </a:lnTo>
                  <a:lnTo>
                    <a:pt x="22" y="652"/>
                  </a:lnTo>
                  <a:lnTo>
                    <a:pt x="34" y="644"/>
                  </a:lnTo>
                  <a:lnTo>
                    <a:pt x="42" y="648"/>
                  </a:lnTo>
                  <a:lnTo>
                    <a:pt x="42" y="656"/>
                  </a:lnTo>
                  <a:lnTo>
                    <a:pt x="30" y="662"/>
                  </a:lnTo>
                  <a:lnTo>
                    <a:pt x="28" y="676"/>
                  </a:lnTo>
                  <a:lnTo>
                    <a:pt x="26" y="682"/>
                  </a:lnTo>
                  <a:lnTo>
                    <a:pt x="14" y="680"/>
                  </a:lnTo>
                  <a:lnTo>
                    <a:pt x="10" y="696"/>
                  </a:lnTo>
                  <a:lnTo>
                    <a:pt x="14" y="700"/>
                  </a:lnTo>
                  <a:lnTo>
                    <a:pt x="26" y="698"/>
                  </a:lnTo>
                  <a:lnTo>
                    <a:pt x="32" y="706"/>
                  </a:lnTo>
                  <a:lnTo>
                    <a:pt x="32" y="708"/>
                  </a:lnTo>
                  <a:lnTo>
                    <a:pt x="24" y="714"/>
                  </a:lnTo>
                  <a:lnTo>
                    <a:pt x="24" y="724"/>
                  </a:lnTo>
                  <a:lnTo>
                    <a:pt x="14" y="726"/>
                  </a:lnTo>
                  <a:lnTo>
                    <a:pt x="6" y="722"/>
                  </a:lnTo>
                  <a:lnTo>
                    <a:pt x="8" y="734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16" y="760"/>
                  </a:lnTo>
                  <a:lnTo>
                    <a:pt x="24" y="770"/>
                  </a:lnTo>
                  <a:lnTo>
                    <a:pt x="28" y="782"/>
                  </a:lnTo>
                  <a:lnTo>
                    <a:pt x="44" y="792"/>
                  </a:lnTo>
                  <a:lnTo>
                    <a:pt x="62" y="802"/>
                  </a:lnTo>
                  <a:lnTo>
                    <a:pt x="80" y="802"/>
                  </a:lnTo>
                  <a:lnTo>
                    <a:pt x="104" y="786"/>
                  </a:lnTo>
                  <a:lnTo>
                    <a:pt x="128" y="768"/>
                  </a:lnTo>
                  <a:lnTo>
                    <a:pt x="150" y="738"/>
                  </a:lnTo>
                  <a:lnTo>
                    <a:pt x="154" y="736"/>
                  </a:lnTo>
                  <a:lnTo>
                    <a:pt x="160" y="746"/>
                  </a:lnTo>
                  <a:lnTo>
                    <a:pt x="172" y="738"/>
                  </a:lnTo>
                  <a:lnTo>
                    <a:pt x="174" y="728"/>
                  </a:lnTo>
                  <a:lnTo>
                    <a:pt x="176" y="714"/>
                  </a:lnTo>
                  <a:lnTo>
                    <a:pt x="188" y="698"/>
                  </a:lnTo>
                  <a:lnTo>
                    <a:pt x="182" y="716"/>
                  </a:lnTo>
                  <a:lnTo>
                    <a:pt x="188" y="720"/>
                  </a:lnTo>
                  <a:lnTo>
                    <a:pt x="186" y="728"/>
                  </a:lnTo>
                  <a:lnTo>
                    <a:pt x="188" y="742"/>
                  </a:lnTo>
                  <a:lnTo>
                    <a:pt x="194" y="754"/>
                  </a:lnTo>
                  <a:lnTo>
                    <a:pt x="200" y="750"/>
                  </a:lnTo>
                  <a:lnTo>
                    <a:pt x="200" y="75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42" name="Freeform 136"/>
            <p:cNvSpPr>
              <a:spLocks/>
            </p:cNvSpPr>
            <p:nvPr/>
          </p:nvSpPr>
          <p:spPr bwMode="auto">
            <a:xfrm>
              <a:off x="1800006" y="1462186"/>
              <a:ext cx="513386" cy="582743"/>
            </a:xfrm>
            <a:custGeom>
              <a:avLst/>
              <a:gdLst>
                <a:gd name="T0" fmla="*/ 218 w 746"/>
                <a:gd name="T1" fmla="*/ 732 h 802"/>
                <a:gd name="T2" fmla="*/ 248 w 746"/>
                <a:gd name="T3" fmla="*/ 686 h 802"/>
                <a:gd name="T4" fmla="*/ 240 w 746"/>
                <a:gd name="T5" fmla="*/ 624 h 802"/>
                <a:gd name="T6" fmla="*/ 246 w 746"/>
                <a:gd name="T7" fmla="*/ 572 h 802"/>
                <a:gd name="T8" fmla="*/ 260 w 746"/>
                <a:gd name="T9" fmla="*/ 496 h 802"/>
                <a:gd name="T10" fmla="*/ 298 w 746"/>
                <a:gd name="T11" fmla="*/ 446 h 802"/>
                <a:gd name="T12" fmla="*/ 316 w 746"/>
                <a:gd name="T13" fmla="*/ 406 h 802"/>
                <a:gd name="T14" fmla="*/ 332 w 746"/>
                <a:gd name="T15" fmla="*/ 366 h 802"/>
                <a:gd name="T16" fmla="*/ 372 w 746"/>
                <a:gd name="T17" fmla="*/ 300 h 802"/>
                <a:gd name="T18" fmla="*/ 394 w 746"/>
                <a:gd name="T19" fmla="*/ 246 h 802"/>
                <a:gd name="T20" fmla="*/ 444 w 746"/>
                <a:gd name="T21" fmla="*/ 192 h 802"/>
                <a:gd name="T22" fmla="*/ 486 w 746"/>
                <a:gd name="T23" fmla="*/ 174 h 802"/>
                <a:gd name="T24" fmla="*/ 514 w 746"/>
                <a:gd name="T25" fmla="*/ 126 h 802"/>
                <a:gd name="T26" fmla="*/ 578 w 746"/>
                <a:gd name="T27" fmla="*/ 152 h 802"/>
                <a:gd name="T28" fmla="*/ 614 w 746"/>
                <a:gd name="T29" fmla="*/ 160 h 802"/>
                <a:gd name="T30" fmla="*/ 634 w 746"/>
                <a:gd name="T31" fmla="*/ 96 h 802"/>
                <a:gd name="T32" fmla="*/ 688 w 746"/>
                <a:gd name="T33" fmla="*/ 92 h 802"/>
                <a:gd name="T34" fmla="*/ 708 w 746"/>
                <a:gd name="T35" fmla="*/ 116 h 802"/>
                <a:gd name="T36" fmla="*/ 724 w 746"/>
                <a:gd name="T37" fmla="*/ 84 h 802"/>
                <a:gd name="T38" fmla="*/ 744 w 746"/>
                <a:gd name="T39" fmla="*/ 46 h 802"/>
                <a:gd name="T40" fmla="*/ 708 w 746"/>
                <a:gd name="T41" fmla="*/ 14 h 802"/>
                <a:gd name="T42" fmla="*/ 674 w 746"/>
                <a:gd name="T43" fmla="*/ 16 h 802"/>
                <a:gd name="T44" fmla="*/ 656 w 746"/>
                <a:gd name="T45" fmla="*/ 14 h 802"/>
                <a:gd name="T46" fmla="*/ 628 w 746"/>
                <a:gd name="T47" fmla="*/ 32 h 802"/>
                <a:gd name="T48" fmla="*/ 618 w 746"/>
                <a:gd name="T49" fmla="*/ 22 h 802"/>
                <a:gd name="T50" fmla="*/ 576 w 746"/>
                <a:gd name="T51" fmla="*/ 70 h 802"/>
                <a:gd name="T52" fmla="*/ 536 w 746"/>
                <a:gd name="T53" fmla="*/ 84 h 802"/>
                <a:gd name="T54" fmla="*/ 490 w 746"/>
                <a:gd name="T55" fmla="*/ 96 h 802"/>
                <a:gd name="T56" fmla="*/ 440 w 746"/>
                <a:gd name="T57" fmla="*/ 108 h 802"/>
                <a:gd name="T58" fmla="*/ 434 w 746"/>
                <a:gd name="T59" fmla="*/ 146 h 802"/>
                <a:gd name="T60" fmla="*/ 428 w 746"/>
                <a:gd name="T61" fmla="*/ 182 h 802"/>
                <a:gd name="T62" fmla="*/ 386 w 746"/>
                <a:gd name="T63" fmla="*/ 190 h 802"/>
                <a:gd name="T64" fmla="*/ 372 w 746"/>
                <a:gd name="T65" fmla="*/ 218 h 802"/>
                <a:gd name="T66" fmla="*/ 340 w 746"/>
                <a:gd name="T67" fmla="*/ 262 h 802"/>
                <a:gd name="T68" fmla="*/ 306 w 746"/>
                <a:gd name="T69" fmla="*/ 314 h 802"/>
                <a:gd name="T70" fmla="*/ 278 w 746"/>
                <a:gd name="T71" fmla="*/ 370 h 802"/>
                <a:gd name="T72" fmla="*/ 262 w 746"/>
                <a:gd name="T73" fmla="*/ 400 h 802"/>
                <a:gd name="T74" fmla="*/ 210 w 746"/>
                <a:gd name="T75" fmla="*/ 446 h 802"/>
                <a:gd name="T76" fmla="*/ 240 w 746"/>
                <a:gd name="T77" fmla="*/ 452 h 802"/>
                <a:gd name="T78" fmla="*/ 194 w 746"/>
                <a:gd name="T79" fmla="*/ 460 h 802"/>
                <a:gd name="T80" fmla="*/ 150 w 746"/>
                <a:gd name="T81" fmla="*/ 486 h 802"/>
                <a:gd name="T82" fmla="*/ 114 w 746"/>
                <a:gd name="T83" fmla="*/ 488 h 802"/>
                <a:gd name="T84" fmla="*/ 84 w 746"/>
                <a:gd name="T85" fmla="*/ 510 h 802"/>
                <a:gd name="T86" fmla="*/ 64 w 746"/>
                <a:gd name="T87" fmla="*/ 530 h 802"/>
                <a:gd name="T88" fmla="*/ 26 w 746"/>
                <a:gd name="T89" fmla="*/ 554 h 802"/>
                <a:gd name="T90" fmla="*/ 14 w 746"/>
                <a:gd name="T91" fmla="*/ 642 h 802"/>
                <a:gd name="T92" fmla="*/ 30 w 746"/>
                <a:gd name="T93" fmla="*/ 662 h 802"/>
                <a:gd name="T94" fmla="*/ 14 w 746"/>
                <a:gd name="T95" fmla="*/ 700 h 802"/>
                <a:gd name="T96" fmla="*/ 24 w 746"/>
                <a:gd name="T97" fmla="*/ 724 h 802"/>
                <a:gd name="T98" fmla="*/ 0 w 746"/>
                <a:gd name="T99" fmla="*/ 744 h 802"/>
                <a:gd name="T100" fmla="*/ 62 w 746"/>
                <a:gd name="T101" fmla="*/ 802 h 802"/>
                <a:gd name="T102" fmla="*/ 154 w 746"/>
                <a:gd name="T103" fmla="*/ 736 h 802"/>
                <a:gd name="T104" fmla="*/ 188 w 746"/>
                <a:gd name="T105" fmla="*/ 698 h 802"/>
                <a:gd name="T106" fmla="*/ 194 w 746"/>
                <a:gd name="T107" fmla="*/ 754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46" h="802">
                  <a:moveTo>
                    <a:pt x="200" y="754"/>
                  </a:moveTo>
                  <a:lnTo>
                    <a:pt x="202" y="752"/>
                  </a:lnTo>
                  <a:lnTo>
                    <a:pt x="210" y="750"/>
                  </a:lnTo>
                  <a:lnTo>
                    <a:pt x="216" y="742"/>
                  </a:lnTo>
                  <a:lnTo>
                    <a:pt x="218" y="732"/>
                  </a:lnTo>
                  <a:lnTo>
                    <a:pt x="222" y="726"/>
                  </a:lnTo>
                  <a:lnTo>
                    <a:pt x="218" y="710"/>
                  </a:lnTo>
                  <a:lnTo>
                    <a:pt x="222" y="700"/>
                  </a:lnTo>
                  <a:lnTo>
                    <a:pt x="230" y="694"/>
                  </a:lnTo>
                  <a:lnTo>
                    <a:pt x="248" y="686"/>
                  </a:lnTo>
                  <a:lnTo>
                    <a:pt x="252" y="678"/>
                  </a:lnTo>
                  <a:lnTo>
                    <a:pt x="248" y="652"/>
                  </a:lnTo>
                  <a:lnTo>
                    <a:pt x="246" y="646"/>
                  </a:lnTo>
                  <a:lnTo>
                    <a:pt x="246" y="630"/>
                  </a:lnTo>
                  <a:lnTo>
                    <a:pt x="240" y="624"/>
                  </a:lnTo>
                  <a:lnTo>
                    <a:pt x="244" y="612"/>
                  </a:lnTo>
                  <a:lnTo>
                    <a:pt x="248" y="612"/>
                  </a:lnTo>
                  <a:lnTo>
                    <a:pt x="262" y="604"/>
                  </a:lnTo>
                  <a:lnTo>
                    <a:pt x="252" y="580"/>
                  </a:lnTo>
                  <a:lnTo>
                    <a:pt x="246" y="572"/>
                  </a:lnTo>
                  <a:lnTo>
                    <a:pt x="246" y="568"/>
                  </a:lnTo>
                  <a:lnTo>
                    <a:pt x="246" y="548"/>
                  </a:lnTo>
                  <a:lnTo>
                    <a:pt x="254" y="532"/>
                  </a:lnTo>
                  <a:lnTo>
                    <a:pt x="256" y="516"/>
                  </a:lnTo>
                  <a:lnTo>
                    <a:pt x="260" y="496"/>
                  </a:lnTo>
                  <a:lnTo>
                    <a:pt x="256" y="480"/>
                  </a:lnTo>
                  <a:lnTo>
                    <a:pt x="262" y="470"/>
                  </a:lnTo>
                  <a:lnTo>
                    <a:pt x="266" y="462"/>
                  </a:lnTo>
                  <a:lnTo>
                    <a:pt x="282" y="452"/>
                  </a:lnTo>
                  <a:lnTo>
                    <a:pt x="298" y="446"/>
                  </a:lnTo>
                  <a:lnTo>
                    <a:pt x="312" y="452"/>
                  </a:lnTo>
                  <a:lnTo>
                    <a:pt x="316" y="454"/>
                  </a:lnTo>
                  <a:lnTo>
                    <a:pt x="326" y="444"/>
                  </a:lnTo>
                  <a:lnTo>
                    <a:pt x="326" y="430"/>
                  </a:lnTo>
                  <a:lnTo>
                    <a:pt x="316" y="406"/>
                  </a:lnTo>
                  <a:lnTo>
                    <a:pt x="314" y="396"/>
                  </a:lnTo>
                  <a:lnTo>
                    <a:pt x="316" y="390"/>
                  </a:lnTo>
                  <a:lnTo>
                    <a:pt x="322" y="390"/>
                  </a:lnTo>
                  <a:lnTo>
                    <a:pt x="328" y="382"/>
                  </a:lnTo>
                  <a:lnTo>
                    <a:pt x="332" y="366"/>
                  </a:lnTo>
                  <a:lnTo>
                    <a:pt x="334" y="344"/>
                  </a:lnTo>
                  <a:lnTo>
                    <a:pt x="336" y="324"/>
                  </a:lnTo>
                  <a:lnTo>
                    <a:pt x="344" y="314"/>
                  </a:lnTo>
                  <a:lnTo>
                    <a:pt x="362" y="304"/>
                  </a:lnTo>
                  <a:lnTo>
                    <a:pt x="372" y="300"/>
                  </a:lnTo>
                  <a:lnTo>
                    <a:pt x="376" y="284"/>
                  </a:lnTo>
                  <a:lnTo>
                    <a:pt x="380" y="272"/>
                  </a:lnTo>
                  <a:lnTo>
                    <a:pt x="394" y="262"/>
                  </a:lnTo>
                  <a:lnTo>
                    <a:pt x="398" y="254"/>
                  </a:lnTo>
                  <a:lnTo>
                    <a:pt x="394" y="246"/>
                  </a:lnTo>
                  <a:lnTo>
                    <a:pt x="394" y="234"/>
                  </a:lnTo>
                  <a:lnTo>
                    <a:pt x="406" y="226"/>
                  </a:lnTo>
                  <a:lnTo>
                    <a:pt x="418" y="204"/>
                  </a:lnTo>
                  <a:lnTo>
                    <a:pt x="428" y="206"/>
                  </a:lnTo>
                  <a:lnTo>
                    <a:pt x="444" y="192"/>
                  </a:lnTo>
                  <a:lnTo>
                    <a:pt x="442" y="182"/>
                  </a:lnTo>
                  <a:lnTo>
                    <a:pt x="452" y="170"/>
                  </a:lnTo>
                  <a:lnTo>
                    <a:pt x="458" y="174"/>
                  </a:lnTo>
                  <a:lnTo>
                    <a:pt x="470" y="170"/>
                  </a:lnTo>
                  <a:lnTo>
                    <a:pt x="486" y="174"/>
                  </a:lnTo>
                  <a:lnTo>
                    <a:pt x="508" y="154"/>
                  </a:lnTo>
                  <a:lnTo>
                    <a:pt x="504" y="144"/>
                  </a:lnTo>
                  <a:lnTo>
                    <a:pt x="508" y="138"/>
                  </a:lnTo>
                  <a:lnTo>
                    <a:pt x="502" y="136"/>
                  </a:lnTo>
                  <a:lnTo>
                    <a:pt x="514" y="126"/>
                  </a:lnTo>
                  <a:lnTo>
                    <a:pt x="530" y="124"/>
                  </a:lnTo>
                  <a:lnTo>
                    <a:pt x="540" y="138"/>
                  </a:lnTo>
                  <a:lnTo>
                    <a:pt x="560" y="160"/>
                  </a:lnTo>
                  <a:lnTo>
                    <a:pt x="568" y="160"/>
                  </a:lnTo>
                  <a:lnTo>
                    <a:pt x="578" y="152"/>
                  </a:lnTo>
                  <a:lnTo>
                    <a:pt x="586" y="150"/>
                  </a:lnTo>
                  <a:lnTo>
                    <a:pt x="592" y="152"/>
                  </a:lnTo>
                  <a:lnTo>
                    <a:pt x="600" y="160"/>
                  </a:lnTo>
                  <a:lnTo>
                    <a:pt x="612" y="162"/>
                  </a:lnTo>
                  <a:lnTo>
                    <a:pt x="614" y="160"/>
                  </a:lnTo>
                  <a:lnTo>
                    <a:pt x="620" y="150"/>
                  </a:lnTo>
                  <a:lnTo>
                    <a:pt x="622" y="144"/>
                  </a:lnTo>
                  <a:lnTo>
                    <a:pt x="634" y="126"/>
                  </a:lnTo>
                  <a:lnTo>
                    <a:pt x="636" y="124"/>
                  </a:lnTo>
                  <a:lnTo>
                    <a:pt x="634" y="96"/>
                  </a:lnTo>
                  <a:lnTo>
                    <a:pt x="648" y="84"/>
                  </a:lnTo>
                  <a:lnTo>
                    <a:pt x="652" y="86"/>
                  </a:lnTo>
                  <a:lnTo>
                    <a:pt x="668" y="70"/>
                  </a:lnTo>
                  <a:lnTo>
                    <a:pt x="682" y="86"/>
                  </a:lnTo>
                  <a:lnTo>
                    <a:pt x="688" y="92"/>
                  </a:lnTo>
                  <a:lnTo>
                    <a:pt x="696" y="88"/>
                  </a:lnTo>
                  <a:lnTo>
                    <a:pt x="702" y="96"/>
                  </a:lnTo>
                  <a:lnTo>
                    <a:pt x="702" y="102"/>
                  </a:lnTo>
                  <a:lnTo>
                    <a:pt x="708" y="108"/>
                  </a:lnTo>
                  <a:lnTo>
                    <a:pt x="708" y="116"/>
                  </a:lnTo>
                  <a:lnTo>
                    <a:pt x="716" y="104"/>
                  </a:lnTo>
                  <a:lnTo>
                    <a:pt x="730" y="94"/>
                  </a:lnTo>
                  <a:lnTo>
                    <a:pt x="738" y="78"/>
                  </a:lnTo>
                  <a:lnTo>
                    <a:pt x="732" y="76"/>
                  </a:lnTo>
                  <a:lnTo>
                    <a:pt x="724" y="84"/>
                  </a:lnTo>
                  <a:lnTo>
                    <a:pt x="722" y="70"/>
                  </a:lnTo>
                  <a:lnTo>
                    <a:pt x="716" y="68"/>
                  </a:lnTo>
                  <a:lnTo>
                    <a:pt x="714" y="60"/>
                  </a:lnTo>
                  <a:lnTo>
                    <a:pt x="734" y="42"/>
                  </a:lnTo>
                  <a:lnTo>
                    <a:pt x="744" y="46"/>
                  </a:lnTo>
                  <a:lnTo>
                    <a:pt x="746" y="34"/>
                  </a:lnTo>
                  <a:lnTo>
                    <a:pt x="740" y="32"/>
                  </a:lnTo>
                  <a:lnTo>
                    <a:pt x="726" y="28"/>
                  </a:lnTo>
                  <a:lnTo>
                    <a:pt x="718" y="24"/>
                  </a:lnTo>
                  <a:lnTo>
                    <a:pt x="708" y="14"/>
                  </a:lnTo>
                  <a:lnTo>
                    <a:pt x="696" y="12"/>
                  </a:lnTo>
                  <a:lnTo>
                    <a:pt x="684" y="22"/>
                  </a:lnTo>
                  <a:lnTo>
                    <a:pt x="680" y="30"/>
                  </a:lnTo>
                  <a:lnTo>
                    <a:pt x="668" y="22"/>
                  </a:lnTo>
                  <a:lnTo>
                    <a:pt x="674" y="16"/>
                  </a:lnTo>
                  <a:lnTo>
                    <a:pt x="676" y="4"/>
                  </a:lnTo>
                  <a:lnTo>
                    <a:pt x="674" y="0"/>
                  </a:lnTo>
                  <a:lnTo>
                    <a:pt x="660" y="0"/>
                  </a:lnTo>
                  <a:lnTo>
                    <a:pt x="658" y="6"/>
                  </a:lnTo>
                  <a:lnTo>
                    <a:pt x="656" y="14"/>
                  </a:lnTo>
                  <a:lnTo>
                    <a:pt x="658" y="22"/>
                  </a:lnTo>
                  <a:lnTo>
                    <a:pt x="648" y="32"/>
                  </a:lnTo>
                  <a:lnTo>
                    <a:pt x="638" y="16"/>
                  </a:lnTo>
                  <a:lnTo>
                    <a:pt x="630" y="20"/>
                  </a:lnTo>
                  <a:lnTo>
                    <a:pt x="628" y="32"/>
                  </a:lnTo>
                  <a:lnTo>
                    <a:pt x="622" y="50"/>
                  </a:lnTo>
                  <a:lnTo>
                    <a:pt x="608" y="64"/>
                  </a:lnTo>
                  <a:lnTo>
                    <a:pt x="600" y="48"/>
                  </a:lnTo>
                  <a:lnTo>
                    <a:pt x="614" y="38"/>
                  </a:lnTo>
                  <a:lnTo>
                    <a:pt x="618" y="22"/>
                  </a:lnTo>
                  <a:lnTo>
                    <a:pt x="608" y="22"/>
                  </a:lnTo>
                  <a:lnTo>
                    <a:pt x="594" y="22"/>
                  </a:lnTo>
                  <a:lnTo>
                    <a:pt x="584" y="38"/>
                  </a:lnTo>
                  <a:lnTo>
                    <a:pt x="570" y="60"/>
                  </a:lnTo>
                  <a:lnTo>
                    <a:pt x="576" y="70"/>
                  </a:lnTo>
                  <a:lnTo>
                    <a:pt x="568" y="76"/>
                  </a:lnTo>
                  <a:lnTo>
                    <a:pt x="556" y="68"/>
                  </a:lnTo>
                  <a:lnTo>
                    <a:pt x="546" y="72"/>
                  </a:lnTo>
                  <a:lnTo>
                    <a:pt x="548" y="84"/>
                  </a:lnTo>
                  <a:lnTo>
                    <a:pt x="536" y="84"/>
                  </a:lnTo>
                  <a:lnTo>
                    <a:pt x="526" y="86"/>
                  </a:lnTo>
                  <a:lnTo>
                    <a:pt x="516" y="100"/>
                  </a:lnTo>
                  <a:lnTo>
                    <a:pt x="502" y="96"/>
                  </a:lnTo>
                  <a:lnTo>
                    <a:pt x="502" y="104"/>
                  </a:lnTo>
                  <a:lnTo>
                    <a:pt x="490" y="96"/>
                  </a:lnTo>
                  <a:lnTo>
                    <a:pt x="478" y="102"/>
                  </a:lnTo>
                  <a:lnTo>
                    <a:pt x="474" y="112"/>
                  </a:lnTo>
                  <a:lnTo>
                    <a:pt x="464" y="116"/>
                  </a:lnTo>
                  <a:lnTo>
                    <a:pt x="456" y="104"/>
                  </a:lnTo>
                  <a:lnTo>
                    <a:pt x="440" y="108"/>
                  </a:lnTo>
                  <a:lnTo>
                    <a:pt x="424" y="112"/>
                  </a:lnTo>
                  <a:lnTo>
                    <a:pt x="424" y="128"/>
                  </a:lnTo>
                  <a:lnTo>
                    <a:pt x="434" y="132"/>
                  </a:lnTo>
                  <a:lnTo>
                    <a:pt x="434" y="136"/>
                  </a:lnTo>
                  <a:lnTo>
                    <a:pt x="434" y="146"/>
                  </a:lnTo>
                  <a:lnTo>
                    <a:pt x="426" y="144"/>
                  </a:lnTo>
                  <a:lnTo>
                    <a:pt x="416" y="150"/>
                  </a:lnTo>
                  <a:lnTo>
                    <a:pt x="418" y="160"/>
                  </a:lnTo>
                  <a:lnTo>
                    <a:pt x="428" y="168"/>
                  </a:lnTo>
                  <a:lnTo>
                    <a:pt x="428" y="182"/>
                  </a:lnTo>
                  <a:lnTo>
                    <a:pt x="418" y="176"/>
                  </a:lnTo>
                  <a:lnTo>
                    <a:pt x="410" y="178"/>
                  </a:lnTo>
                  <a:lnTo>
                    <a:pt x="410" y="190"/>
                  </a:lnTo>
                  <a:lnTo>
                    <a:pt x="398" y="190"/>
                  </a:lnTo>
                  <a:lnTo>
                    <a:pt x="386" y="190"/>
                  </a:lnTo>
                  <a:lnTo>
                    <a:pt x="384" y="198"/>
                  </a:lnTo>
                  <a:lnTo>
                    <a:pt x="380" y="204"/>
                  </a:lnTo>
                  <a:lnTo>
                    <a:pt x="372" y="206"/>
                  </a:lnTo>
                  <a:lnTo>
                    <a:pt x="370" y="212"/>
                  </a:lnTo>
                  <a:lnTo>
                    <a:pt x="372" y="218"/>
                  </a:lnTo>
                  <a:lnTo>
                    <a:pt x="356" y="224"/>
                  </a:lnTo>
                  <a:lnTo>
                    <a:pt x="368" y="234"/>
                  </a:lnTo>
                  <a:lnTo>
                    <a:pt x="370" y="240"/>
                  </a:lnTo>
                  <a:lnTo>
                    <a:pt x="358" y="248"/>
                  </a:lnTo>
                  <a:lnTo>
                    <a:pt x="340" y="262"/>
                  </a:lnTo>
                  <a:lnTo>
                    <a:pt x="326" y="272"/>
                  </a:lnTo>
                  <a:lnTo>
                    <a:pt x="316" y="288"/>
                  </a:lnTo>
                  <a:lnTo>
                    <a:pt x="302" y="300"/>
                  </a:lnTo>
                  <a:lnTo>
                    <a:pt x="302" y="306"/>
                  </a:lnTo>
                  <a:lnTo>
                    <a:pt x="306" y="314"/>
                  </a:lnTo>
                  <a:lnTo>
                    <a:pt x="294" y="324"/>
                  </a:lnTo>
                  <a:lnTo>
                    <a:pt x="298" y="334"/>
                  </a:lnTo>
                  <a:lnTo>
                    <a:pt x="286" y="352"/>
                  </a:lnTo>
                  <a:lnTo>
                    <a:pt x="278" y="356"/>
                  </a:lnTo>
                  <a:lnTo>
                    <a:pt x="278" y="370"/>
                  </a:lnTo>
                  <a:lnTo>
                    <a:pt x="284" y="376"/>
                  </a:lnTo>
                  <a:lnTo>
                    <a:pt x="276" y="384"/>
                  </a:lnTo>
                  <a:lnTo>
                    <a:pt x="270" y="380"/>
                  </a:lnTo>
                  <a:lnTo>
                    <a:pt x="260" y="384"/>
                  </a:lnTo>
                  <a:lnTo>
                    <a:pt x="262" y="400"/>
                  </a:lnTo>
                  <a:lnTo>
                    <a:pt x="252" y="406"/>
                  </a:lnTo>
                  <a:lnTo>
                    <a:pt x="236" y="408"/>
                  </a:lnTo>
                  <a:lnTo>
                    <a:pt x="224" y="422"/>
                  </a:lnTo>
                  <a:lnTo>
                    <a:pt x="222" y="436"/>
                  </a:lnTo>
                  <a:lnTo>
                    <a:pt x="210" y="446"/>
                  </a:lnTo>
                  <a:lnTo>
                    <a:pt x="210" y="454"/>
                  </a:lnTo>
                  <a:lnTo>
                    <a:pt x="224" y="444"/>
                  </a:lnTo>
                  <a:lnTo>
                    <a:pt x="240" y="432"/>
                  </a:lnTo>
                  <a:lnTo>
                    <a:pt x="246" y="436"/>
                  </a:lnTo>
                  <a:lnTo>
                    <a:pt x="240" y="452"/>
                  </a:lnTo>
                  <a:lnTo>
                    <a:pt x="228" y="460"/>
                  </a:lnTo>
                  <a:lnTo>
                    <a:pt x="214" y="458"/>
                  </a:lnTo>
                  <a:lnTo>
                    <a:pt x="216" y="468"/>
                  </a:lnTo>
                  <a:lnTo>
                    <a:pt x="196" y="476"/>
                  </a:lnTo>
                  <a:lnTo>
                    <a:pt x="194" y="460"/>
                  </a:lnTo>
                  <a:lnTo>
                    <a:pt x="186" y="454"/>
                  </a:lnTo>
                  <a:lnTo>
                    <a:pt x="174" y="470"/>
                  </a:lnTo>
                  <a:lnTo>
                    <a:pt x="164" y="470"/>
                  </a:lnTo>
                  <a:lnTo>
                    <a:pt x="152" y="472"/>
                  </a:lnTo>
                  <a:lnTo>
                    <a:pt x="150" y="486"/>
                  </a:lnTo>
                  <a:lnTo>
                    <a:pt x="144" y="488"/>
                  </a:lnTo>
                  <a:lnTo>
                    <a:pt x="144" y="496"/>
                  </a:lnTo>
                  <a:lnTo>
                    <a:pt x="138" y="494"/>
                  </a:lnTo>
                  <a:lnTo>
                    <a:pt x="128" y="488"/>
                  </a:lnTo>
                  <a:lnTo>
                    <a:pt x="114" y="488"/>
                  </a:lnTo>
                  <a:lnTo>
                    <a:pt x="114" y="496"/>
                  </a:lnTo>
                  <a:lnTo>
                    <a:pt x="114" y="504"/>
                  </a:lnTo>
                  <a:lnTo>
                    <a:pt x="110" y="506"/>
                  </a:lnTo>
                  <a:lnTo>
                    <a:pt x="96" y="500"/>
                  </a:lnTo>
                  <a:lnTo>
                    <a:pt x="84" y="510"/>
                  </a:lnTo>
                  <a:lnTo>
                    <a:pt x="86" y="516"/>
                  </a:lnTo>
                  <a:lnTo>
                    <a:pt x="84" y="522"/>
                  </a:lnTo>
                  <a:lnTo>
                    <a:pt x="72" y="516"/>
                  </a:lnTo>
                  <a:lnTo>
                    <a:pt x="68" y="524"/>
                  </a:lnTo>
                  <a:lnTo>
                    <a:pt x="64" y="530"/>
                  </a:lnTo>
                  <a:lnTo>
                    <a:pt x="50" y="526"/>
                  </a:lnTo>
                  <a:lnTo>
                    <a:pt x="42" y="528"/>
                  </a:lnTo>
                  <a:lnTo>
                    <a:pt x="40" y="538"/>
                  </a:lnTo>
                  <a:lnTo>
                    <a:pt x="34" y="542"/>
                  </a:lnTo>
                  <a:lnTo>
                    <a:pt x="26" y="554"/>
                  </a:lnTo>
                  <a:lnTo>
                    <a:pt x="28" y="568"/>
                  </a:lnTo>
                  <a:lnTo>
                    <a:pt x="24" y="590"/>
                  </a:lnTo>
                  <a:lnTo>
                    <a:pt x="20" y="612"/>
                  </a:lnTo>
                  <a:lnTo>
                    <a:pt x="18" y="632"/>
                  </a:lnTo>
                  <a:lnTo>
                    <a:pt x="14" y="642"/>
                  </a:lnTo>
                  <a:lnTo>
                    <a:pt x="22" y="652"/>
                  </a:lnTo>
                  <a:lnTo>
                    <a:pt x="34" y="644"/>
                  </a:lnTo>
                  <a:lnTo>
                    <a:pt x="42" y="648"/>
                  </a:lnTo>
                  <a:lnTo>
                    <a:pt x="42" y="656"/>
                  </a:lnTo>
                  <a:lnTo>
                    <a:pt x="30" y="662"/>
                  </a:lnTo>
                  <a:lnTo>
                    <a:pt x="28" y="676"/>
                  </a:lnTo>
                  <a:lnTo>
                    <a:pt x="26" y="682"/>
                  </a:lnTo>
                  <a:lnTo>
                    <a:pt x="14" y="680"/>
                  </a:lnTo>
                  <a:lnTo>
                    <a:pt x="10" y="696"/>
                  </a:lnTo>
                  <a:lnTo>
                    <a:pt x="14" y="700"/>
                  </a:lnTo>
                  <a:lnTo>
                    <a:pt x="26" y="698"/>
                  </a:lnTo>
                  <a:lnTo>
                    <a:pt x="32" y="706"/>
                  </a:lnTo>
                  <a:lnTo>
                    <a:pt x="32" y="708"/>
                  </a:lnTo>
                  <a:lnTo>
                    <a:pt x="24" y="714"/>
                  </a:lnTo>
                  <a:lnTo>
                    <a:pt x="24" y="724"/>
                  </a:lnTo>
                  <a:lnTo>
                    <a:pt x="14" y="726"/>
                  </a:lnTo>
                  <a:lnTo>
                    <a:pt x="6" y="722"/>
                  </a:lnTo>
                  <a:lnTo>
                    <a:pt x="8" y="734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16" y="760"/>
                  </a:lnTo>
                  <a:lnTo>
                    <a:pt x="24" y="770"/>
                  </a:lnTo>
                  <a:lnTo>
                    <a:pt x="28" y="782"/>
                  </a:lnTo>
                  <a:lnTo>
                    <a:pt x="44" y="792"/>
                  </a:lnTo>
                  <a:lnTo>
                    <a:pt x="62" y="802"/>
                  </a:lnTo>
                  <a:lnTo>
                    <a:pt x="80" y="802"/>
                  </a:lnTo>
                  <a:lnTo>
                    <a:pt x="104" y="786"/>
                  </a:lnTo>
                  <a:lnTo>
                    <a:pt x="128" y="768"/>
                  </a:lnTo>
                  <a:lnTo>
                    <a:pt x="150" y="738"/>
                  </a:lnTo>
                  <a:lnTo>
                    <a:pt x="154" y="736"/>
                  </a:lnTo>
                  <a:lnTo>
                    <a:pt x="160" y="746"/>
                  </a:lnTo>
                  <a:lnTo>
                    <a:pt x="172" y="738"/>
                  </a:lnTo>
                  <a:lnTo>
                    <a:pt x="174" y="728"/>
                  </a:lnTo>
                  <a:lnTo>
                    <a:pt x="176" y="714"/>
                  </a:lnTo>
                  <a:lnTo>
                    <a:pt x="188" y="698"/>
                  </a:lnTo>
                  <a:lnTo>
                    <a:pt x="182" y="716"/>
                  </a:lnTo>
                  <a:lnTo>
                    <a:pt x="188" y="720"/>
                  </a:lnTo>
                  <a:lnTo>
                    <a:pt x="186" y="728"/>
                  </a:lnTo>
                  <a:lnTo>
                    <a:pt x="188" y="742"/>
                  </a:lnTo>
                  <a:lnTo>
                    <a:pt x="194" y="754"/>
                  </a:lnTo>
                  <a:lnTo>
                    <a:pt x="200" y="750"/>
                  </a:lnTo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43" name="Freeform 137"/>
            <p:cNvSpPr>
              <a:spLocks/>
            </p:cNvSpPr>
            <p:nvPr/>
          </p:nvSpPr>
          <p:spPr bwMode="auto">
            <a:xfrm>
              <a:off x="1800006" y="1462186"/>
              <a:ext cx="513386" cy="582743"/>
            </a:xfrm>
            <a:custGeom>
              <a:avLst/>
              <a:gdLst>
                <a:gd name="T0" fmla="*/ 218 w 746"/>
                <a:gd name="T1" fmla="*/ 732 h 802"/>
                <a:gd name="T2" fmla="*/ 248 w 746"/>
                <a:gd name="T3" fmla="*/ 686 h 802"/>
                <a:gd name="T4" fmla="*/ 240 w 746"/>
                <a:gd name="T5" fmla="*/ 624 h 802"/>
                <a:gd name="T6" fmla="*/ 246 w 746"/>
                <a:gd name="T7" fmla="*/ 572 h 802"/>
                <a:gd name="T8" fmla="*/ 260 w 746"/>
                <a:gd name="T9" fmla="*/ 496 h 802"/>
                <a:gd name="T10" fmla="*/ 298 w 746"/>
                <a:gd name="T11" fmla="*/ 446 h 802"/>
                <a:gd name="T12" fmla="*/ 316 w 746"/>
                <a:gd name="T13" fmla="*/ 406 h 802"/>
                <a:gd name="T14" fmla="*/ 332 w 746"/>
                <a:gd name="T15" fmla="*/ 366 h 802"/>
                <a:gd name="T16" fmla="*/ 372 w 746"/>
                <a:gd name="T17" fmla="*/ 300 h 802"/>
                <a:gd name="T18" fmla="*/ 394 w 746"/>
                <a:gd name="T19" fmla="*/ 246 h 802"/>
                <a:gd name="T20" fmla="*/ 444 w 746"/>
                <a:gd name="T21" fmla="*/ 192 h 802"/>
                <a:gd name="T22" fmla="*/ 486 w 746"/>
                <a:gd name="T23" fmla="*/ 174 h 802"/>
                <a:gd name="T24" fmla="*/ 514 w 746"/>
                <a:gd name="T25" fmla="*/ 126 h 802"/>
                <a:gd name="T26" fmla="*/ 578 w 746"/>
                <a:gd name="T27" fmla="*/ 152 h 802"/>
                <a:gd name="T28" fmla="*/ 614 w 746"/>
                <a:gd name="T29" fmla="*/ 160 h 802"/>
                <a:gd name="T30" fmla="*/ 634 w 746"/>
                <a:gd name="T31" fmla="*/ 96 h 802"/>
                <a:gd name="T32" fmla="*/ 688 w 746"/>
                <a:gd name="T33" fmla="*/ 92 h 802"/>
                <a:gd name="T34" fmla="*/ 708 w 746"/>
                <a:gd name="T35" fmla="*/ 116 h 802"/>
                <a:gd name="T36" fmla="*/ 724 w 746"/>
                <a:gd name="T37" fmla="*/ 84 h 802"/>
                <a:gd name="T38" fmla="*/ 744 w 746"/>
                <a:gd name="T39" fmla="*/ 46 h 802"/>
                <a:gd name="T40" fmla="*/ 708 w 746"/>
                <a:gd name="T41" fmla="*/ 14 h 802"/>
                <a:gd name="T42" fmla="*/ 674 w 746"/>
                <a:gd name="T43" fmla="*/ 16 h 802"/>
                <a:gd name="T44" fmla="*/ 656 w 746"/>
                <a:gd name="T45" fmla="*/ 14 h 802"/>
                <a:gd name="T46" fmla="*/ 628 w 746"/>
                <a:gd name="T47" fmla="*/ 32 h 802"/>
                <a:gd name="T48" fmla="*/ 618 w 746"/>
                <a:gd name="T49" fmla="*/ 22 h 802"/>
                <a:gd name="T50" fmla="*/ 576 w 746"/>
                <a:gd name="T51" fmla="*/ 70 h 802"/>
                <a:gd name="T52" fmla="*/ 536 w 746"/>
                <a:gd name="T53" fmla="*/ 84 h 802"/>
                <a:gd name="T54" fmla="*/ 490 w 746"/>
                <a:gd name="T55" fmla="*/ 96 h 802"/>
                <a:gd name="T56" fmla="*/ 440 w 746"/>
                <a:gd name="T57" fmla="*/ 108 h 802"/>
                <a:gd name="T58" fmla="*/ 434 w 746"/>
                <a:gd name="T59" fmla="*/ 146 h 802"/>
                <a:gd name="T60" fmla="*/ 428 w 746"/>
                <a:gd name="T61" fmla="*/ 182 h 802"/>
                <a:gd name="T62" fmla="*/ 386 w 746"/>
                <a:gd name="T63" fmla="*/ 190 h 802"/>
                <a:gd name="T64" fmla="*/ 372 w 746"/>
                <a:gd name="T65" fmla="*/ 218 h 802"/>
                <a:gd name="T66" fmla="*/ 340 w 746"/>
                <a:gd name="T67" fmla="*/ 262 h 802"/>
                <a:gd name="T68" fmla="*/ 306 w 746"/>
                <a:gd name="T69" fmla="*/ 314 h 802"/>
                <a:gd name="T70" fmla="*/ 278 w 746"/>
                <a:gd name="T71" fmla="*/ 370 h 802"/>
                <a:gd name="T72" fmla="*/ 262 w 746"/>
                <a:gd name="T73" fmla="*/ 400 h 802"/>
                <a:gd name="T74" fmla="*/ 210 w 746"/>
                <a:gd name="T75" fmla="*/ 446 h 802"/>
                <a:gd name="T76" fmla="*/ 240 w 746"/>
                <a:gd name="T77" fmla="*/ 452 h 802"/>
                <a:gd name="T78" fmla="*/ 194 w 746"/>
                <a:gd name="T79" fmla="*/ 460 h 802"/>
                <a:gd name="T80" fmla="*/ 150 w 746"/>
                <a:gd name="T81" fmla="*/ 486 h 802"/>
                <a:gd name="T82" fmla="*/ 114 w 746"/>
                <a:gd name="T83" fmla="*/ 488 h 802"/>
                <a:gd name="T84" fmla="*/ 84 w 746"/>
                <a:gd name="T85" fmla="*/ 510 h 802"/>
                <a:gd name="T86" fmla="*/ 64 w 746"/>
                <a:gd name="T87" fmla="*/ 530 h 802"/>
                <a:gd name="T88" fmla="*/ 26 w 746"/>
                <a:gd name="T89" fmla="*/ 554 h 802"/>
                <a:gd name="T90" fmla="*/ 14 w 746"/>
                <a:gd name="T91" fmla="*/ 642 h 802"/>
                <a:gd name="T92" fmla="*/ 30 w 746"/>
                <a:gd name="T93" fmla="*/ 662 h 802"/>
                <a:gd name="T94" fmla="*/ 14 w 746"/>
                <a:gd name="T95" fmla="*/ 700 h 802"/>
                <a:gd name="T96" fmla="*/ 24 w 746"/>
                <a:gd name="T97" fmla="*/ 724 h 802"/>
                <a:gd name="T98" fmla="*/ 0 w 746"/>
                <a:gd name="T99" fmla="*/ 744 h 802"/>
                <a:gd name="T100" fmla="*/ 62 w 746"/>
                <a:gd name="T101" fmla="*/ 802 h 802"/>
                <a:gd name="T102" fmla="*/ 154 w 746"/>
                <a:gd name="T103" fmla="*/ 736 h 802"/>
                <a:gd name="T104" fmla="*/ 188 w 746"/>
                <a:gd name="T105" fmla="*/ 698 h 802"/>
                <a:gd name="T106" fmla="*/ 194 w 746"/>
                <a:gd name="T107" fmla="*/ 754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46" h="802">
                  <a:moveTo>
                    <a:pt x="200" y="754"/>
                  </a:moveTo>
                  <a:lnTo>
                    <a:pt x="202" y="752"/>
                  </a:lnTo>
                  <a:lnTo>
                    <a:pt x="210" y="750"/>
                  </a:lnTo>
                  <a:lnTo>
                    <a:pt x="216" y="742"/>
                  </a:lnTo>
                  <a:lnTo>
                    <a:pt x="218" y="732"/>
                  </a:lnTo>
                  <a:lnTo>
                    <a:pt x="222" y="726"/>
                  </a:lnTo>
                  <a:lnTo>
                    <a:pt x="218" y="710"/>
                  </a:lnTo>
                  <a:lnTo>
                    <a:pt x="222" y="700"/>
                  </a:lnTo>
                  <a:lnTo>
                    <a:pt x="230" y="694"/>
                  </a:lnTo>
                  <a:lnTo>
                    <a:pt x="248" y="686"/>
                  </a:lnTo>
                  <a:lnTo>
                    <a:pt x="252" y="678"/>
                  </a:lnTo>
                  <a:lnTo>
                    <a:pt x="248" y="652"/>
                  </a:lnTo>
                  <a:lnTo>
                    <a:pt x="246" y="646"/>
                  </a:lnTo>
                  <a:lnTo>
                    <a:pt x="246" y="630"/>
                  </a:lnTo>
                  <a:lnTo>
                    <a:pt x="240" y="624"/>
                  </a:lnTo>
                  <a:lnTo>
                    <a:pt x="244" y="612"/>
                  </a:lnTo>
                  <a:lnTo>
                    <a:pt x="248" y="612"/>
                  </a:lnTo>
                  <a:lnTo>
                    <a:pt x="262" y="604"/>
                  </a:lnTo>
                  <a:lnTo>
                    <a:pt x="252" y="580"/>
                  </a:lnTo>
                  <a:lnTo>
                    <a:pt x="246" y="572"/>
                  </a:lnTo>
                  <a:lnTo>
                    <a:pt x="246" y="568"/>
                  </a:lnTo>
                  <a:lnTo>
                    <a:pt x="246" y="548"/>
                  </a:lnTo>
                  <a:lnTo>
                    <a:pt x="254" y="532"/>
                  </a:lnTo>
                  <a:lnTo>
                    <a:pt x="256" y="516"/>
                  </a:lnTo>
                  <a:lnTo>
                    <a:pt x="260" y="496"/>
                  </a:lnTo>
                  <a:lnTo>
                    <a:pt x="256" y="480"/>
                  </a:lnTo>
                  <a:lnTo>
                    <a:pt x="262" y="470"/>
                  </a:lnTo>
                  <a:lnTo>
                    <a:pt x="266" y="462"/>
                  </a:lnTo>
                  <a:lnTo>
                    <a:pt x="282" y="452"/>
                  </a:lnTo>
                  <a:lnTo>
                    <a:pt x="298" y="446"/>
                  </a:lnTo>
                  <a:lnTo>
                    <a:pt x="312" y="452"/>
                  </a:lnTo>
                  <a:lnTo>
                    <a:pt x="316" y="454"/>
                  </a:lnTo>
                  <a:lnTo>
                    <a:pt x="326" y="444"/>
                  </a:lnTo>
                  <a:lnTo>
                    <a:pt x="326" y="430"/>
                  </a:lnTo>
                  <a:lnTo>
                    <a:pt x="316" y="406"/>
                  </a:lnTo>
                  <a:lnTo>
                    <a:pt x="314" y="396"/>
                  </a:lnTo>
                  <a:lnTo>
                    <a:pt x="316" y="390"/>
                  </a:lnTo>
                  <a:lnTo>
                    <a:pt x="322" y="390"/>
                  </a:lnTo>
                  <a:lnTo>
                    <a:pt x="328" y="382"/>
                  </a:lnTo>
                  <a:lnTo>
                    <a:pt x="332" y="366"/>
                  </a:lnTo>
                  <a:lnTo>
                    <a:pt x="334" y="344"/>
                  </a:lnTo>
                  <a:lnTo>
                    <a:pt x="336" y="324"/>
                  </a:lnTo>
                  <a:lnTo>
                    <a:pt x="344" y="314"/>
                  </a:lnTo>
                  <a:lnTo>
                    <a:pt x="362" y="304"/>
                  </a:lnTo>
                  <a:lnTo>
                    <a:pt x="372" y="300"/>
                  </a:lnTo>
                  <a:lnTo>
                    <a:pt x="376" y="284"/>
                  </a:lnTo>
                  <a:lnTo>
                    <a:pt x="380" y="272"/>
                  </a:lnTo>
                  <a:lnTo>
                    <a:pt x="394" y="262"/>
                  </a:lnTo>
                  <a:lnTo>
                    <a:pt x="398" y="254"/>
                  </a:lnTo>
                  <a:lnTo>
                    <a:pt x="394" y="246"/>
                  </a:lnTo>
                  <a:lnTo>
                    <a:pt x="394" y="234"/>
                  </a:lnTo>
                  <a:lnTo>
                    <a:pt x="406" y="226"/>
                  </a:lnTo>
                  <a:lnTo>
                    <a:pt x="418" y="204"/>
                  </a:lnTo>
                  <a:lnTo>
                    <a:pt x="428" y="206"/>
                  </a:lnTo>
                  <a:lnTo>
                    <a:pt x="444" y="192"/>
                  </a:lnTo>
                  <a:lnTo>
                    <a:pt x="442" y="182"/>
                  </a:lnTo>
                  <a:lnTo>
                    <a:pt x="452" y="170"/>
                  </a:lnTo>
                  <a:lnTo>
                    <a:pt x="458" y="174"/>
                  </a:lnTo>
                  <a:lnTo>
                    <a:pt x="470" y="170"/>
                  </a:lnTo>
                  <a:lnTo>
                    <a:pt x="486" y="174"/>
                  </a:lnTo>
                  <a:lnTo>
                    <a:pt x="508" y="154"/>
                  </a:lnTo>
                  <a:lnTo>
                    <a:pt x="504" y="144"/>
                  </a:lnTo>
                  <a:lnTo>
                    <a:pt x="508" y="138"/>
                  </a:lnTo>
                  <a:lnTo>
                    <a:pt x="502" y="136"/>
                  </a:lnTo>
                  <a:lnTo>
                    <a:pt x="514" y="126"/>
                  </a:lnTo>
                  <a:lnTo>
                    <a:pt x="530" y="124"/>
                  </a:lnTo>
                  <a:lnTo>
                    <a:pt x="540" y="138"/>
                  </a:lnTo>
                  <a:lnTo>
                    <a:pt x="560" y="160"/>
                  </a:lnTo>
                  <a:lnTo>
                    <a:pt x="568" y="160"/>
                  </a:lnTo>
                  <a:lnTo>
                    <a:pt x="578" y="152"/>
                  </a:lnTo>
                  <a:lnTo>
                    <a:pt x="586" y="150"/>
                  </a:lnTo>
                  <a:lnTo>
                    <a:pt x="592" y="152"/>
                  </a:lnTo>
                  <a:lnTo>
                    <a:pt x="600" y="160"/>
                  </a:lnTo>
                  <a:lnTo>
                    <a:pt x="612" y="162"/>
                  </a:lnTo>
                  <a:lnTo>
                    <a:pt x="614" y="160"/>
                  </a:lnTo>
                  <a:lnTo>
                    <a:pt x="620" y="150"/>
                  </a:lnTo>
                  <a:lnTo>
                    <a:pt x="622" y="144"/>
                  </a:lnTo>
                  <a:lnTo>
                    <a:pt x="634" y="126"/>
                  </a:lnTo>
                  <a:lnTo>
                    <a:pt x="636" y="124"/>
                  </a:lnTo>
                  <a:lnTo>
                    <a:pt x="634" y="96"/>
                  </a:lnTo>
                  <a:lnTo>
                    <a:pt x="648" y="84"/>
                  </a:lnTo>
                  <a:lnTo>
                    <a:pt x="652" y="86"/>
                  </a:lnTo>
                  <a:lnTo>
                    <a:pt x="668" y="70"/>
                  </a:lnTo>
                  <a:lnTo>
                    <a:pt x="682" y="86"/>
                  </a:lnTo>
                  <a:lnTo>
                    <a:pt x="688" y="92"/>
                  </a:lnTo>
                  <a:lnTo>
                    <a:pt x="696" y="88"/>
                  </a:lnTo>
                  <a:lnTo>
                    <a:pt x="702" y="96"/>
                  </a:lnTo>
                  <a:lnTo>
                    <a:pt x="702" y="102"/>
                  </a:lnTo>
                  <a:lnTo>
                    <a:pt x="708" y="108"/>
                  </a:lnTo>
                  <a:lnTo>
                    <a:pt x="708" y="116"/>
                  </a:lnTo>
                  <a:lnTo>
                    <a:pt x="716" y="104"/>
                  </a:lnTo>
                  <a:lnTo>
                    <a:pt x="730" y="94"/>
                  </a:lnTo>
                  <a:lnTo>
                    <a:pt x="738" y="78"/>
                  </a:lnTo>
                  <a:lnTo>
                    <a:pt x="732" y="76"/>
                  </a:lnTo>
                  <a:lnTo>
                    <a:pt x="724" y="84"/>
                  </a:lnTo>
                  <a:lnTo>
                    <a:pt x="722" y="70"/>
                  </a:lnTo>
                  <a:lnTo>
                    <a:pt x="716" y="68"/>
                  </a:lnTo>
                  <a:lnTo>
                    <a:pt x="714" y="60"/>
                  </a:lnTo>
                  <a:lnTo>
                    <a:pt x="734" y="42"/>
                  </a:lnTo>
                  <a:lnTo>
                    <a:pt x="744" y="46"/>
                  </a:lnTo>
                  <a:lnTo>
                    <a:pt x="746" y="34"/>
                  </a:lnTo>
                  <a:lnTo>
                    <a:pt x="740" y="32"/>
                  </a:lnTo>
                  <a:lnTo>
                    <a:pt x="726" y="28"/>
                  </a:lnTo>
                  <a:lnTo>
                    <a:pt x="718" y="24"/>
                  </a:lnTo>
                  <a:lnTo>
                    <a:pt x="708" y="14"/>
                  </a:lnTo>
                  <a:lnTo>
                    <a:pt x="696" y="12"/>
                  </a:lnTo>
                  <a:lnTo>
                    <a:pt x="684" y="22"/>
                  </a:lnTo>
                  <a:lnTo>
                    <a:pt x="680" y="30"/>
                  </a:lnTo>
                  <a:lnTo>
                    <a:pt x="668" y="22"/>
                  </a:lnTo>
                  <a:lnTo>
                    <a:pt x="674" y="16"/>
                  </a:lnTo>
                  <a:lnTo>
                    <a:pt x="676" y="4"/>
                  </a:lnTo>
                  <a:lnTo>
                    <a:pt x="674" y="0"/>
                  </a:lnTo>
                  <a:lnTo>
                    <a:pt x="660" y="0"/>
                  </a:lnTo>
                  <a:lnTo>
                    <a:pt x="658" y="6"/>
                  </a:lnTo>
                  <a:lnTo>
                    <a:pt x="656" y="14"/>
                  </a:lnTo>
                  <a:lnTo>
                    <a:pt x="658" y="22"/>
                  </a:lnTo>
                  <a:lnTo>
                    <a:pt x="648" y="32"/>
                  </a:lnTo>
                  <a:lnTo>
                    <a:pt x="638" y="16"/>
                  </a:lnTo>
                  <a:lnTo>
                    <a:pt x="630" y="20"/>
                  </a:lnTo>
                  <a:lnTo>
                    <a:pt x="628" y="32"/>
                  </a:lnTo>
                  <a:lnTo>
                    <a:pt x="622" y="50"/>
                  </a:lnTo>
                  <a:lnTo>
                    <a:pt x="608" y="64"/>
                  </a:lnTo>
                  <a:lnTo>
                    <a:pt x="600" y="48"/>
                  </a:lnTo>
                  <a:lnTo>
                    <a:pt x="614" y="38"/>
                  </a:lnTo>
                  <a:lnTo>
                    <a:pt x="618" y="22"/>
                  </a:lnTo>
                  <a:lnTo>
                    <a:pt x="608" y="22"/>
                  </a:lnTo>
                  <a:lnTo>
                    <a:pt x="594" y="22"/>
                  </a:lnTo>
                  <a:lnTo>
                    <a:pt x="584" y="38"/>
                  </a:lnTo>
                  <a:lnTo>
                    <a:pt x="570" y="60"/>
                  </a:lnTo>
                  <a:lnTo>
                    <a:pt x="576" y="70"/>
                  </a:lnTo>
                  <a:lnTo>
                    <a:pt x="568" y="76"/>
                  </a:lnTo>
                  <a:lnTo>
                    <a:pt x="556" y="68"/>
                  </a:lnTo>
                  <a:lnTo>
                    <a:pt x="546" y="72"/>
                  </a:lnTo>
                  <a:lnTo>
                    <a:pt x="548" y="84"/>
                  </a:lnTo>
                  <a:lnTo>
                    <a:pt x="536" y="84"/>
                  </a:lnTo>
                  <a:lnTo>
                    <a:pt x="526" y="86"/>
                  </a:lnTo>
                  <a:lnTo>
                    <a:pt x="516" y="100"/>
                  </a:lnTo>
                  <a:lnTo>
                    <a:pt x="502" y="96"/>
                  </a:lnTo>
                  <a:lnTo>
                    <a:pt x="502" y="104"/>
                  </a:lnTo>
                  <a:lnTo>
                    <a:pt x="490" y="96"/>
                  </a:lnTo>
                  <a:lnTo>
                    <a:pt x="478" y="102"/>
                  </a:lnTo>
                  <a:lnTo>
                    <a:pt x="474" y="112"/>
                  </a:lnTo>
                  <a:lnTo>
                    <a:pt x="464" y="116"/>
                  </a:lnTo>
                  <a:lnTo>
                    <a:pt x="456" y="104"/>
                  </a:lnTo>
                  <a:lnTo>
                    <a:pt x="440" y="108"/>
                  </a:lnTo>
                  <a:lnTo>
                    <a:pt x="424" y="112"/>
                  </a:lnTo>
                  <a:lnTo>
                    <a:pt x="424" y="128"/>
                  </a:lnTo>
                  <a:lnTo>
                    <a:pt x="434" y="132"/>
                  </a:lnTo>
                  <a:lnTo>
                    <a:pt x="434" y="136"/>
                  </a:lnTo>
                  <a:lnTo>
                    <a:pt x="434" y="146"/>
                  </a:lnTo>
                  <a:lnTo>
                    <a:pt x="426" y="144"/>
                  </a:lnTo>
                  <a:lnTo>
                    <a:pt x="416" y="150"/>
                  </a:lnTo>
                  <a:lnTo>
                    <a:pt x="418" y="160"/>
                  </a:lnTo>
                  <a:lnTo>
                    <a:pt x="428" y="168"/>
                  </a:lnTo>
                  <a:lnTo>
                    <a:pt x="428" y="182"/>
                  </a:lnTo>
                  <a:lnTo>
                    <a:pt x="418" y="176"/>
                  </a:lnTo>
                  <a:lnTo>
                    <a:pt x="410" y="178"/>
                  </a:lnTo>
                  <a:lnTo>
                    <a:pt x="410" y="190"/>
                  </a:lnTo>
                  <a:lnTo>
                    <a:pt x="398" y="190"/>
                  </a:lnTo>
                  <a:lnTo>
                    <a:pt x="386" y="190"/>
                  </a:lnTo>
                  <a:lnTo>
                    <a:pt x="384" y="198"/>
                  </a:lnTo>
                  <a:lnTo>
                    <a:pt x="380" y="204"/>
                  </a:lnTo>
                  <a:lnTo>
                    <a:pt x="372" y="206"/>
                  </a:lnTo>
                  <a:lnTo>
                    <a:pt x="370" y="212"/>
                  </a:lnTo>
                  <a:lnTo>
                    <a:pt x="372" y="218"/>
                  </a:lnTo>
                  <a:lnTo>
                    <a:pt x="356" y="224"/>
                  </a:lnTo>
                  <a:lnTo>
                    <a:pt x="368" y="234"/>
                  </a:lnTo>
                  <a:lnTo>
                    <a:pt x="370" y="240"/>
                  </a:lnTo>
                  <a:lnTo>
                    <a:pt x="358" y="248"/>
                  </a:lnTo>
                  <a:lnTo>
                    <a:pt x="340" y="262"/>
                  </a:lnTo>
                  <a:lnTo>
                    <a:pt x="326" y="272"/>
                  </a:lnTo>
                  <a:lnTo>
                    <a:pt x="316" y="288"/>
                  </a:lnTo>
                  <a:lnTo>
                    <a:pt x="302" y="300"/>
                  </a:lnTo>
                  <a:lnTo>
                    <a:pt x="302" y="306"/>
                  </a:lnTo>
                  <a:lnTo>
                    <a:pt x="306" y="314"/>
                  </a:lnTo>
                  <a:lnTo>
                    <a:pt x="294" y="324"/>
                  </a:lnTo>
                  <a:lnTo>
                    <a:pt x="298" y="334"/>
                  </a:lnTo>
                  <a:lnTo>
                    <a:pt x="286" y="352"/>
                  </a:lnTo>
                  <a:lnTo>
                    <a:pt x="278" y="356"/>
                  </a:lnTo>
                  <a:lnTo>
                    <a:pt x="278" y="370"/>
                  </a:lnTo>
                  <a:lnTo>
                    <a:pt x="284" y="376"/>
                  </a:lnTo>
                  <a:lnTo>
                    <a:pt x="276" y="384"/>
                  </a:lnTo>
                  <a:lnTo>
                    <a:pt x="270" y="380"/>
                  </a:lnTo>
                  <a:lnTo>
                    <a:pt x="260" y="384"/>
                  </a:lnTo>
                  <a:lnTo>
                    <a:pt x="262" y="400"/>
                  </a:lnTo>
                  <a:lnTo>
                    <a:pt x="252" y="406"/>
                  </a:lnTo>
                  <a:lnTo>
                    <a:pt x="236" y="408"/>
                  </a:lnTo>
                  <a:lnTo>
                    <a:pt x="224" y="422"/>
                  </a:lnTo>
                  <a:lnTo>
                    <a:pt x="222" y="436"/>
                  </a:lnTo>
                  <a:lnTo>
                    <a:pt x="210" y="446"/>
                  </a:lnTo>
                  <a:lnTo>
                    <a:pt x="210" y="454"/>
                  </a:lnTo>
                  <a:lnTo>
                    <a:pt x="224" y="444"/>
                  </a:lnTo>
                  <a:lnTo>
                    <a:pt x="240" y="432"/>
                  </a:lnTo>
                  <a:lnTo>
                    <a:pt x="246" y="436"/>
                  </a:lnTo>
                  <a:lnTo>
                    <a:pt x="240" y="452"/>
                  </a:lnTo>
                  <a:lnTo>
                    <a:pt x="228" y="460"/>
                  </a:lnTo>
                  <a:lnTo>
                    <a:pt x="214" y="458"/>
                  </a:lnTo>
                  <a:lnTo>
                    <a:pt x="216" y="468"/>
                  </a:lnTo>
                  <a:lnTo>
                    <a:pt x="196" y="476"/>
                  </a:lnTo>
                  <a:lnTo>
                    <a:pt x="194" y="460"/>
                  </a:lnTo>
                  <a:lnTo>
                    <a:pt x="186" y="454"/>
                  </a:lnTo>
                  <a:lnTo>
                    <a:pt x="174" y="470"/>
                  </a:lnTo>
                  <a:lnTo>
                    <a:pt x="164" y="470"/>
                  </a:lnTo>
                  <a:lnTo>
                    <a:pt x="152" y="472"/>
                  </a:lnTo>
                  <a:lnTo>
                    <a:pt x="150" y="486"/>
                  </a:lnTo>
                  <a:lnTo>
                    <a:pt x="144" y="488"/>
                  </a:lnTo>
                  <a:lnTo>
                    <a:pt x="144" y="496"/>
                  </a:lnTo>
                  <a:lnTo>
                    <a:pt x="138" y="494"/>
                  </a:lnTo>
                  <a:lnTo>
                    <a:pt x="128" y="488"/>
                  </a:lnTo>
                  <a:lnTo>
                    <a:pt x="114" y="488"/>
                  </a:lnTo>
                  <a:lnTo>
                    <a:pt x="114" y="496"/>
                  </a:lnTo>
                  <a:lnTo>
                    <a:pt x="114" y="504"/>
                  </a:lnTo>
                  <a:lnTo>
                    <a:pt x="110" y="506"/>
                  </a:lnTo>
                  <a:lnTo>
                    <a:pt x="96" y="500"/>
                  </a:lnTo>
                  <a:lnTo>
                    <a:pt x="84" y="510"/>
                  </a:lnTo>
                  <a:lnTo>
                    <a:pt x="86" y="516"/>
                  </a:lnTo>
                  <a:lnTo>
                    <a:pt x="84" y="522"/>
                  </a:lnTo>
                  <a:lnTo>
                    <a:pt x="72" y="516"/>
                  </a:lnTo>
                  <a:lnTo>
                    <a:pt x="68" y="524"/>
                  </a:lnTo>
                  <a:lnTo>
                    <a:pt x="64" y="530"/>
                  </a:lnTo>
                  <a:lnTo>
                    <a:pt x="50" y="526"/>
                  </a:lnTo>
                  <a:lnTo>
                    <a:pt x="42" y="528"/>
                  </a:lnTo>
                  <a:lnTo>
                    <a:pt x="40" y="538"/>
                  </a:lnTo>
                  <a:lnTo>
                    <a:pt x="34" y="542"/>
                  </a:lnTo>
                  <a:lnTo>
                    <a:pt x="26" y="554"/>
                  </a:lnTo>
                  <a:lnTo>
                    <a:pt x="28" y="568"/>
                  </a:lnTo>
                  <a:lnTo>
                    <a:pt x="24" y="590"/>
                  </a:lnTo>
                  <a:lnTo>
                    <a:pt x="20" y="612"/>
                  </a:lnTo>
                  <a:lnTo>
                    <a:pt x="18" y="632"/>
                  </a:lnTo>
                  <a:lnTo>
                    <a:pt x="14" y="642"/>
                  </a:lnTo>
                  <a:lnTo>
                    <a:pt x="22" y="652"/>
                  </a:lnTo>
                  <a:lnTo>
                    <a:pt x="34" y="644"/>
                  </a:lnTo>
                  <a:lnTo>
                    <a:pt x="42" y="648"/>
                  </a:lnTo>
                  <a:lnTo>
                    <a:pt x="42" y="656"/>
                  </a:lnTo>
                  <a:lnTo>
                    <a:pt x="30" y="662"/>
                  </a:lnTo>
                  <a:lnTo>
                    <a:pt x="28" y="676"/>
                  </a:lnTo>
                  <a:lnTo>
                    <a:pt x="26" y="682"/>
                  </a:lnTo>
                  <a:lnTo>
                    <a:pt x="14" y="680"/>
                  </a:lnTo>
                  <a:lnTo>
                    <a:pt x="10" y="696"/>
                  </a:lnTo>
                  <a:lnTo>
                    <a:pt x="14" y="700"/>
                  </a:lnTo>
                  <a:lnTo>
                    <a:pt x="26" y="698"/>
                  </a:lnTo>
                  <a:lnTo>
                    <a:pt x="32" y="706"/>
                  </a:lnTo>
                  <a:lnTo>
                    <a:pt x="32" y="708"/>
                  </a:lnTo>
                  <a:lnTo>
                    <a:pt x="24" y="714"/>
                  </a:lnTo>
                  <a:lnTo>
                    <a:pt x="24" y="724"/>
                  </a:lnTo>
                  <a:lnTo>
                    <a:pt x="14" y="726"/>
                  </a:lnTo>
                  <a:lnTo>
                    <a:pt x="6" y="722"/>
                  </a:lnTo>
                  <a:lnTo>
                    <a:pt x="8" y="734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16" y="760"/>
                  </a:lnTo>
                  <a:lnTo>
                    <a:pt x="24" y="770"/>
                  </a:lnTo>
                  <a:lnTo>
                    <a:pt x="28" y="782"/>
                  </a:lnTo>
                  <a:lnTo>
                    <a:pt x="44" y="792"/>
                  </a:lnTo>
                  <a:lnTo>
                    <a:pt x="62" y="802"/>
                  </a:lnTo>
                  <a:lnTo>
                    <a:pt x="80" y="802"/>
                  </a:lnTo>
                  <a:lnTo>
                    <a:pt x="104" y="786"/>
                  </a:lnTo>
                  <a:lnTo>
                    <a:pt x="128" y="768"/>
                  </a:lnTo>
                  <a:lnTo>
                    <a:pt x="150" y="738"/>
                  </a:lnTo>
                  <a:lnTo>
                    <a:pt x="154" y="736"/>
                  </a:lnTo>
                  <a:lnTo>
                    <a:pt x="160" y="746"/>
                  </a:lnTo>
                  <a:lnTo>
                    <a:pt x="172" y="738"/>
                  </a:lnTo>
                  <a:lnTo>
                    <a:pt x="174" y="728"/>
                  </a:lnTo>
                  <a:lnTo>
                    <a:pt x="176" y="714"/>
                  </a:lnTo>
                  <a:lnTo>
                    <a:pt x="188" y="698"/>
                  </a:lnTo>
                  <a:lnTo>
                    <a:pt x="182" y="716"/>
                  </a:lnTo>
                  <a:lnTo>
                    <a:pt x="188" y="720"/>
                  </a:lnTo>
                  <a:lnTo>
                    <a:pt x="186" y="728"/>
                  </a:lnTo>
                  <a:lnTo>
                    <a:pt x="188" y="742"/>
                  </a:lnTo>
                  <a:lnTo>
                    <a:pt x="194" y="754"/>
                  </a:lnTo>
                  <a:lnTo>
                    <a:pt x="200" y="750"/>
                  </a:lnTo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44" name="Freeform 138"/>
            <p:cNvSpPr>
              <a:spLocks/>
            </p:cNvSpPr>
            <p:nvPr/>
          </p:nvSpPr>
          <p:spPr bwMode="auto">
            <a:xfrm>
              <a:off x="2058764" y="1563911"/>
              <a:ext cx="15140" cy="20345"/>
            </a:xfrm>
            <a:custGeom>
              <a:avLst/>
              <a:gdLst>
                <a:gd name="T0" fmla="*/ 22 w 22"/>
                <a:gd name="T1" fmla="*/ 4 h 28"/>
                <a:gd name="T2" fmla="*/ 18 w 22"/>
                <a:gd name="T3" fmla="*/ 12 h 28"/>
                <a:gd name="T4" fmla="*/ 22 w 22"/>
                <a:gd name="T5" fmla="*/ 24 h 28"/>
                <a:gd name="T6" fmla="*/ 6 w 22"/>
                <a:gd name="T7" fmla="*/ 28 h 28"/>
                <a:gd name="T8" fmla="*/ 0 w 22"/>
                <a:gd name="T9" fmla="*/ 22 h 28"/>
                <a:gd name="T10" fmla="*/ 0 w 22"/>
                <a:gd name="T11" fmla="*/ 12 h 28"/>
                <a:gd name="T12" fmla="*/ 4 w 22"/>
                <a:gd name="T13" fmla="*/ 0 h 28"/>
                <a:gd name="T14" fmla="*/ 22 w 22"/>
                <a:gd name="T15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22" y="4"/>
                  </a:moveTo>
                  <a:lnTo>
                    <a:pt x="18" y="12"/>
                  </a:lnTo>
                  <a:lnTo>
                    <a:pt x="22" y="24"/>
                  </a:lnTo>
                  <a:lnTo>
                    <a:pt x="6" y="28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4" y="0"/>
                  </a:lnTo>
                  <a:lnTo>
                    <a:pt x="22" y="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45" name="Freeform 139"/>
            <p:cNvSpPr>
              <a:spLocks/>
            </p:cNvSpPr>
            <p:nvPr/>
          </p:nvSpPr>
          <p:spPr bwMode="auto">
            <a:xfrm>
              <a:off x="2058764" y="1563911"/>
              <a:ext cx="15140" cy="20345"/>
            </a:xfrm>
            <a:custGeom>
              <a:avLst/>
              <a:gdLst>
                <a:gd name="T0" fmla="*/ 22 w 22"/>
                <a:gd name="T1" fmla="*/ 4 h 28"/>
                <a:gd name="T2" fmla="*/ 18 w 22"/>
                <a:gd name="T3" fmla="*/ 12 h 28"/>
                <a:gd name="T4" fmla="*/ 22 w 22"/>
                <a:gd name="T5" fmla="*/ 24 h 28"/>
                <a:gd name="T6" fmla="*/ 6 w 22"/>
                <a:gd name="T7" fmla="*/ 28 h 28"/>
                <a:gd name="T8" fmla="*/ 0 w 22"/>
                <a:gd name="T9" fmla="*/ 22 h 28"/>
                <a:gd name="T10" fmla="*/ 0 w 22"/>
                <a:gd name="T11" fmla="*/ 12 h 28"/>
                <a:gd name="T12" fmla="*/ 4 w 22"/>
                <a:gd name="T13" fmla="*/ 0 h 28"/>
                <a:gd name="T14" fmla="*/ 22 w 22"/>
                <a:gd name="T15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22" y="4"/>
                  </a:moveTo>
                  <a:lnTo>
                    <a:pt x="18" y="12"/>
                  </a:lnTo>
                  <a:lnTo>
                    <a:pt x="22" y="24"/>
                  </a:lnTo>
                  <a:lnTo>
                    <a:pt x="6" y="28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4" y="0"/>
                  </a:lnTo>
                  <a:lnTo>
                    <a:pt x="22" y="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46" name="Freeform 140"/>
            <p:cNvSpPr>
              <a:spLocks/>
            </p:cNvSpPr>
            <p:nvPr/>
          </p:nvSpPr>
          <p:spPr bwMode="auto">
            <a:xfrm>
              <a:off x="2033989" y="1578444"/>
              <a:ext cx="13764" cy="11626"/>
            </a:xfrm>
            <a:custGeom>
              <a:avLst/>
              <a:gdLst>
                <a:gd name="T0" fmla="*/ 16 w 20"/>
                <a:gd name="T1" fmla="*/ 0 h 16"/>
                <a:gd name="T2" fmla="*/ 20 w 20"/>
                <a:gd name="T3" fmla="*/ 10 h 16"/>
                <a:gd name="T4" fmla="*/ 4 w 20"/>
                <a:gd name="T5" fmla="*/ 16 h 16"/>
                <a:gd name="T6" fmla="*/ 0 w 20"/>
                <a:gd name="T7" fmla="*/ 4 h 16"/>
                <a:gd name="T8" fmla="*/ 16 w 2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16" y="0"/>
                  </a:moveTo>
                  <a:lnTo>
                    <a:pt x="20" y="10"/>
                  </a:lnTo>
                  <a:lnTo>
                    <a:pt x="4" y="16"/>
                  </a:lnTo>
                  <a:lnTo>
                    <a:pt x="0" y="4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47" name="Freeform 141"/>
            <p:cNvSpPr>
              <a:spLocks/>
            </p:cNvSpPr>
            <p:nvPr/>
          </p:nvSpPr>
          <p:spPr bwMode="auto">
            <a:xfrm>
              <a:off x="2033989" y="1578444"/>
              <a:ext cx="13764" cy="11626"/>
            </a:xfrm>
            <a:custGeom>
              <a:avLst/>
              <a:gdLst>
                <a:gd name="T0" fmla="*/ 16 w 20"/>
                <a:gd name="T1" fmla="*/ 0 h 16"/>
                <a:gd name="T2" fmla="*/ 20 w 20"/>
                <a:gd name="T3" fmla="*/ 10 h 16"/>
                <a:gd name="T4" fmla="*/ 4 w 20"/>
                <a:gd name="T5" fmla="*/ 16 h 16"/>
                <a:gd name="T6" fmla="*/ 0 w 20"/>
                <a:gd name="T7" fmla="*/ 4 h 16"/>
                <a:gd name="T8" fmla="*/ 16 w 2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6">
                  <a:moveTo>
                    <a:pt x="16" y="0"/>
                  </a:moveTo>
                  <a:lnTo>
                    <a:pt x="20" y="10"/>
                  </a:lnTo>
                  <a:lnTo>
                    <a:pt x="4" y="16"/>
                  </a:lnTo>
                  <a:lnTo>
                    <a:pt x="0" y="4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48" name="Freeform 142"/>
            <p:cNvSpPr>
              <a:spLocks/>
            </p:cNvSpPr>
            <p:nvPr/>
          </p:nvSpPr>
          <p:spPr bwMode="auto">
            <a:xfrm>
              <a:off x="2038118" y="1555192"/>
              <a:ext cx="16516" cy="13079"/>
            </a:xfrm>
            <a:custGeom>
              <a:avLst/>
              <a:gdLst>
                <a:gd name="T0" fmla="*/ 0 w 24"/>
                <a:gd name="T1" fmla="*/ 12 h 18"/>
                <a:gd name="T2" fmla="*/ 18 w 24"/>
                <a:gd name="T3" fmla="*/ 18 h 18"/>
                <a:gd name="T4" fmla="*/ 24 w 24"/>
                <a:gd name="T5" fmla="*/ 4 h 18"/>
                <a:gd name="T6" fmla="*/ 14 w 24"/>
                <a:gd name="T7" fmla="*/ 0 h 18"/>
                <a:gd name="T8" fmla="*/ 6 w 24"/>
                <a:gd name="T9" fmla="*/ 4 h 18"/>
                <a:gd name="T10" fmla="*/ 0 w 24"/>
                <a:gd name="T11" fmla="*/ 8 h 18"/>
                <a:gd name="T12" fmla="*/ 0 w 24"/>
                <a:gd name="T1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8">
                  <a:moveTo>
                    <a:pt x="0" y="12"/>
                  </a:moveTo>
                  <a:lnTo>
                    <a:pt x="18" y="18"/>
                  </a:lnTo>
                  <a:lnTo>
                    <a:pt x="24" y="4"/>
                  </a:lnTo>
                  <a:lnTo>
                    <a:pt x="14" y="0"/>
                  </a:lnTo>
                  <a:lnTo>
                    <a:pt x="6" y="4"/>
                  </a:lnTo>
                  <a:lnTo>
                    <a:pt x="0" y="8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49" name="Freeform 143"/>
            <p:cNvSpPr>
              <a:spLocks/>
            </p:cNvSpPr>
            <p:nvPr/>
          </p:nvSpPr>
          <p:spPr bwMode="auto">
            <a:xfrm>
              <a:off x="2038118" y="1555192"/>
              <a:ext cx="16516" cy="13079"/>
            </a:xfrm>
            <a:custGeom>
              <a:avLst/>
              <a:gdLst>
                <a:gd name="T0" fmla="*/ 0 w 24"/>
                <a:gd name="T1" fmla="*/ 12 h 18"/>
                <a:gd name="T2" fmla="*/ 18 w 24"/>
                <a:gd name="T3" fmla="*/ 18 h 18"/>
                <a:gd name="T4" fmla="*/ 24 w 24"/>
                <a:gd name="T5" fmla="*/ 4 h 18"/>
                <a:gd name="T6" fmla="*/ 14 w 24"/>
                <a:gd name="T7" fmla="*/ 0 h 18"/>
                <a:gd name="T8" fmla="*/ 6 w 24"/>
                <a:gd name="T9" fmla="*/ 4 h 18"/>
                <a:gd name="T10" fmla="*/ 0 w 24"/>
                <a:gd name="T11" fmla="*/ 8 h 18"/>
                <a:gd name="T12" fmla="*/ 0 w 24"/>
                <a:gd name="T13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8">
                  <a:moveTo>
                    <a:pt x="0" y="12"/>
                  </a:moveTo>
                  <a:lnTo>
                    <a:pt x="18" y="18"/>
                  </a:lnTo>
                  <a:lnTo>
                    <a:pt x="24" y="4"/>
                  </a:lnTo>
                  <a:lnTo>
                    <a:pt x="14" y="0"/>
                  </a:lnTo>
                  <a:lnTo>
                    <a:pt x="6" y="4"/>
                  </a:lnTo>
                  <a:lnTo>
                    <a:pt x="0" y="8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50" name="Freeform 144"/>
            <p:cNvSpPr>
              <a:spLocks/>
            </p:cNvSpPr>
            <p:nvPr/>
          </p:nvSpPr>
          <p:spPr bwMode="auto">
            <a:xfrm>
              <a:off x="2058764" y="1543566"/>
              <a:ext cx="11011" cy="8719"/>
            </a:xfrm>
            <a:custGeom>
              <a:avLst/>
              <a:gdLst>
                <a:gd name="T0" fmla="*/ 0 w 16"/>
                <a:gd name="T1" fmla="*/ 12 h 12"/>
                <a:gd name="T2" fmla="*/ 12 w 16"/>
                <a:gd name="T3" fmla="*/ 0 h 12"/>
                <a:gd name="T4" fmla="*/ 16 w 16"/>
                <a:gd name="T5" fmla="*/ 4 h 12"/>
                <a:gd name="T6" fmla="*/ 0 w 1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2">
                  <a:moveTo>
                    <a:pt x="0" y="12"/>
                  </a:moveTo>
                  <a:lnTo>
                    <a:pt x="12" y="0"/>
                  </a:lnTo>
                  <a:lnTo>
                    <a:pt x="16" y="4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51" name="Freeform 145"/>
            <p:cNvSpPr>
              <a:spLocks/>
            </p:cNvSpPr>
            <p:nvPr/>
          </p:nvSpPr>
          <p:spPr bwMode="auto">
            <a:xfrm>
              <a:off x="2058764" y="1543566"/>
              <a:ext cx="11011" cy="8719"/>
            </a:xfrm>
            <a:custGeom>
              <a:avLst/>
              <a:gdLst>
                <a:gd name="T0" fmla="*/ 0 w 16"/>
                <a:gd name="T1" fmla="*/ 12 h 12"/>
                <a:gd name="T2" fmla="*/ 12 w 16"/>
                <a:gd name="T3" fmla="*/ 0 h 12"/>
                <a:gd name="T4" fmla="*/ 16 w 16"/>
                <a:gd name="T5" fmla="*/ 4 h 12"/>
                <a:gd name="T6" fmla="*/ 0 w 1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2">
                  <a:moveTo>
                    <a:pt x="0" y="12"/>
                  </a:moveTo>
                  <a:lnTo>
                    <a:pt x="12" y="0"/>
                  </a:lnTo>
                  <a:lnTo>
                    <a:pt x="16" y="4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52" name="Freeform 146"/>
            <p:cNvSpPr>
              <a:spLocks/>
            </p:cNvSpPr>
            <p:nvPr/>
          </p:nvSpPr>
          <p:spPr bwMode="auto">
            <a:xfrm>
              <a:off x="2013344" y="1582803"/>
              <a:ext cx="9635" cy="10173"/>
            </a:xfrm>
            <a:custGeom>
              <a:avLst/>
              <a:gdLst>
                <a:gd name="T0" fmla="*/ 10 w 14"/>
                <a:gd name="T1" fmla="*/ 0 h 14"/>
                <a:gd name="T2" fmla="*/ 14 w 14"/>
                <a:gd name="T3" fmla="*/ 12 h 14"/>
                <a:gd name="T4" fmla="*/ 0 w 14"/>
                <a:gd name="T5" fmla="*/ 14 h 14"/>
                <a:gd name="T6" fmla="*/ 10 w 14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4">
                  <a:moveTo>
                    <a:pt x="10" y="0"/>
                  </a:moveTo>
                  <a:lnTo>
                    <a:pt x="14" y="12"/>
                  </a:lnTo>
                  <a:lnTo>
                    <a:pt x="0" y="1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53" name="Freeform 147"/>
            <p:cNvSpPr>
              <a:spLocks/>
            </p:cNvSpPr>
            <p:nvPr/>
          </p:nvSpPr>
          <p:spPr bwMode="auto">
            <a:xfrm>
              <a:off x="2013344" y="1582803"/>
              <a:ext cx="9635" cy="10173"/>
            </a:xfrm>
            <a:custGeom>
              <a:avLst/>
              <a:gdLst>
                <a:gd name="T0" fmla="*/ 10 w 14"/>
                <a:gd name="T1" fmla="*/ 0 h 14"/>
                <a:gd name="T2" fmla="*/ 14 w 14"/>
                <a:gd name="T3" fmla="*/ 12 h 14"/>
                <a:gd name="T4" fmla="*/ 0 w 14"/>
                <a:gd name="T5" fmla="*/ 14 h 14"/>
                <a:gd name="T6" fmla="*/ 10 w 14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4">
                  <a:moveTo>
                    <a:pt x="10" y="0"/>
                  </a:moveTo>
                  <a:lnTo>
                    <a:pt x="14" y="12"/>
                  </a:lnTo>
                  <a:lnTo>
                    <a:pt x="0" y="1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54" name="Freeform 148"/>
            <p:cNvSpPr>
              <a:spLocks/>
            </p:cNvSpPr>
            <p:nvPr/>
          </p:nvSpPr>
          <p:spPr bwMode="auto">
            <a:xfrm>
              <a:off x="2109690" y="1517408"/>
              <a:ext cx="17893" cy="14532"/>
            </a:xfrm>
            <a:custGeom>
              <a:avLst/>
              <a:gdLst>
                <a:gd name="T0" fmla="*/ 12 w 26"/>
                <a:gd name="T1" fmla="*/ 0 h 20"/>
                <a:gd name="T2" fmla="*/ 0 w 26"/>
                <a:gd name="T3" fmla="*/ 8 h 20"/>
                <a:gd name="T4" fmla="*/ 16 w 26"/>
                <a:gd name="T5" fmla="*/ 20 h 20"/>
                <a:gd name="T6" fmla="*/ 26 w 26"/>
                <a:gd name="T7" fmla="*/ 8 h 20"/>
                <a:gd name="T8" fmla="*/ 12 w 26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0">
                  <a:moveTo>
                    <a:pt x="12" y="0"/>
                  </a:moveTo>
                  <a:lnTo>
                    <a:pt x="0" y="8"/>
                  </a:lnTo>
                  <a:lnTo>
                    <a:pt x="16" y="20"/>
                  </a:lnTo>
                  <a:lnTo>
                    <a:pt x="26" y="8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55" name="Freeform 149"/>
            <p:cNvSpPr>
              <a:spLocks/>
            </p:cNvSpPr>
            <p:nvPr/>
          </p:nvSpPr>
          <p:spPr bwMode="auto">
            <a:xfrm>
              <a:off x="2109690" y="1517408"/>
              <a:ext cx="17893" cy="14532"/>
            </a:xfrm>
            <a:custGeom>
              <a:avLst/>
              <a:gdLst>
                <a:gd name="T0" fmla="*/ 12 w 26"/>
                <a:gd name="T1" fmla="*/ 0 h 20"/>
                <a:gd name="T2" fmla="*/ 0 w 26"/>
                <a:gd name="T3" fmla="*/ 8 h 20"/>
                <a:gd name="T4" fmla="*/ 16 w 26"/>
                <a:gd name="T5" fmla="*/ 20 h 20"/>
                <a:gd name="T6" fmla="*/ 26 w 26"/>
                <a:gd name="T7" fmla="*/ 8 h 20"/>
                <a:gd name="T8" fmla="*/ 12 w 26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0">
                  <a:moveTo>
                    <a:pt x="12" y="0"/>
                  </a:moveTo>
                  <a:lnTo>
                    <a:pt x="0" y="8"/>
                  </a:lnTo>
                  <a:lnTo>
                    <a:pt x="16" y="20"/>
                  </a:lnTo>
                  <a:lnTo>
                    <a:pt x="26" y="8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56" name="Freeform 150"/>
            <p:cNvSpPr>
              <a:spLocks/>
            </p:cNvSpPr>
            <p:nvPr/>
          </p:nvSpPr>
          <p:spPr bwMode="auto">
            <a:xfrm>
              <a:off x="2126206" y="1504329"/>
              <a:ext cx="16516" cy="14532"/>
            </a:xfrm>
            <a:custGeom>
              <a:avLst/>
              <a:gdLst>
                <a:gd name="T0" fmla="*/ 0 w 24"/>
                <a:gd name="T1" fmla="*/ 6 h 20"/>
                <a:gd name="T2" fmla="*/ 10 w 24"/>
                <a:gd name="T3" fmla="*/ 20 h 20"/>
                <a:gd name="T4" fmla="*/ 24 w 24"/>
                <a:gd name="T5" fmla="*/ 12 h 20"/>
                <a:gd name="T6" fmla="*/ 12 w 24"/>
                <a:gd name="T7" fmla="*/ 0 h 20"/>
                <a:gd name="T8" fmla="*/ 0 w 24"/>
                <a:gd name="T9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0">
                  <a:moveTo>
                    <a:pt x="0" y="6"/>
                  </a:moveTo>
                  <a:lnTo>
                    <a:pt x="10" y="20"/>
                  </a:lnTo>
                  <a:lnTo>
                    <a:pt x="24" y="12"/>
                  </a:lnTo>
                  <a:lnTo>
                    <a:pt x="12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57" name="Freeform 151"/>
            <p:cNvSpPr>
              <a:spLocks/>
            </p:cNvSpPr>
            <p:nvPr/>
          </p:nvSpPr>
          <p:spPr bwMode="auto">
            <a:xfrm>
              <a:off x="2126206" y="1504329"/>
              <a:ext cx="16516" cy="14532"/>
            </a:xfrm>
            <a:custGeom>
              <a:avLst/>
              <a:gdLst>
                <a:gd name="T0" fmla="*/ 0 w 24"/>
                <a:gd name="T1" fmla="*/ 6 h 20"/>
                <a:gd name="T2" fmla="*/ 10 w 24"/>
                <a:gd name="T3" fmla="*/ 20 h 20"/>
                <a:gd name="T4" fmla="*/ 24 w 24"/>
                <a:gd name="T5" fmla="*/ 12 h 20"/>
                <a:gd name="T6" fmla="*/ 12 w 24"/>
                <a:gd name="T7" fmla="*/ 0 h 20"/>
                <a:gd name="T8" fmla="*/ 0 w 24"/>
                <a:gd name="T9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0">
                  <a:moveTo>
                    <a:pt x="0" y="6"/>
                  </a:moveTo>
                  <a:lnTo>
                    <a:pt x="10" y="20"/>
                  </a:lnTo>
                  <a:lnTo>
                    <a:pt x="24" y="12"/>
                  </a:lnTo>
                  <a:lnTo>
                    <a:pt x="12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58" name="Freeform 152"/>
            <p:cNvSpPr>
              <a:spLocks/>
            </p:cNvSpPr>
            <p:nvPr/>
          </p:nvSpPr>
          <p:spPr bwMode="auto">
            <a:xfrm>
              <a:off x="2170250" y="1478171"/>
              <a:ext cx="23398" cy="17439"/>
            </a:xfrm>
            <a:custGeom>
              <a:avLst/>
              <a:gdLst>
                <a:gd name="T0" fmla="*/ 14 w 34"/>
                <a:gd name="T1" fmla="*/ 6 h 24"/>
                <a:gd name="T2" fmla="*/ 20 w 34"/>
                <a:gd name="T3" fmla="*/ 10 h 24"/>
                <a:gd name="T4" fmla="*/ 34 w 34"/>
                <a:gd name="T5" fmla="*/ 0 h 24"/>
                <a:gd name="T6" fmla="*/ 28 w 34"/>
                <a:gd name="T7" fmla="*/ 22 h 24"/>
                <a:gd name="T8" fmla="*/ 14 w 34"/>
                <a:gd name="T9" fmla="*/ 24 h 24"/>
                <a:gd name="T10" fmla="*/ 0 w 34"/>
                <a:gd name="T11" fmla="*/ 8 h 24"/>
                <a:gd name="T12" fmla="*/ 14 w 34"/>
                <a:gd name="T1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4">
                  <a:moveTo>
                    <a:pt x="14" y="6"/>
                  </a:moveTo>
                  <a:lnTo>
                    <a:pt x="20" y="10"/>
                  </a:lnTo>
                  <a:lnTo>
                    <a:pt x="34" y="0"/>
                  </a:lnTo>
                  <a:lnTo>
                    <a:pt x="28" y="22"/>
                  </a:lnTo>
                  <a:lnTo>
                    <a:pt x="14" y="24"/>
                  </a:lnTo>
                  <a:lnTo>
                    <a:pt x="0" y="8"/>
                  </a:lnTo>
                  <a:lnTo>
                    <a:pt x="14" y="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59" name="Freeform 153"/>
            <p:cNvSpPr>
              <a:spLocks/>
            </p:cNvSpPr>
            <p:nvPr/>
          </p:nvSpPr>
          <p:spPr bwMode="auto">
            <a:xfrm>
              <a:off x="2170250" y="1478171"/>
              <a:ext cx="23398" cy="17439"/>
            </a:xfrm>
            <a:custGeom>
              <a:avLst/>
              <a:gdLst>
                <a:gd name="T0" fmla="*/ 14 w 34"/>
                <a:gd name="T1" fmla="*/ 6 h 24"/>
                <a:gd name="T2" fmla="*/ 20 w 34"/>
                <a:gd name="T3" fmla="*/ 10 h 24"/>
                <a:gd name="T4" fmla="*/ 34 w 34"/>
                <a:gd name="T5" fmla="*/ 0 h 24"/>
                <a:gd name="T6" fmla="*/ 28 w 34"/>
                <a:gd name="T7" fmla="*/ 22 h 24"/>
                <a:gd name="T8" fmla="*/ 14 w 34"/>
                <a:gd name="T9" fmla="*/ 24 h 24"/>
                <a:gd name="T10" fmla="*/ 0 w 34"/>
                <a:gd name="T11" fmla="*/ 8 h 24"/>
                <a:gd name="T12" fmla="*/ 14 w 34"/>
                <a:gd name="T13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4">
                  <a:moveTo>
                    <a:pt x="14" y="6"/>
                  </a:moveTo>
                  <a:lnTo>
                    <a:pt x="20" y="10"/>
                  </a:lnTo>
                  <a:lnTo>
                    <a:pt x="34" y="0"/>
                  </a:lnTo>
                  <a:lnTo>
                    <a:pt x="28" y="22"/>
                  </a:lnTo>
                  <a:lnTo>
                    <a:pt x="14" y="24"/>
                  </a:lnTo>
                  <a:lnTo>
                    <a:pt x="0" y="8"/>
                  </a:lnTo>
                  <a:lnTo>
                    <a:pt x="14" y="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60" name="Freeform 154"/>
            <p:cNvSpPr>
              <a:spLocks/>
            </p:cNvSpPr>
            <p:nvPr/>
          </p:nvSpPr>
          <p:spPr bwMode="auto">
            <a:xfrm>
              <a:off x="2217046" y="1462186"/>
              <a:ext cx="12387" cy="10173"/>
            </a:xfrm>
            <a:custGeom>
              <a:avLst/>
              <a:gdLst>
                <a:gd name="T0" fmla="*/ 8 w 18"/>
                <a:gd name="T1" fmla="*/ 0 h 14"/>
                <a:gd name="T2" fmla="*/ 14 w 18"/>
                <a:gd name="T3" fmla="*/ 4 h 14"/>
                <a:gd name="T4" fmla="*/ 18 w 18"/>
                <a:gd name="T5" fmla="*/ 14 h 14"/>
                <a:gd name="T6" fmla="*/ 0 w 18"/>
                <a:gd name="T7" fmla="*/ 14 h 14"/>
                <a:gd name="T8" fmla="*/ 8 w 18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4">
                  <a:moveTo>
                    <a:pt x="8" y="0"/>
                  </a:moveTo>
                  <a:lnTo>
                    <a:pt x="14" y="4"/>
                  </a:lnTo>
                  <a:lnTo>
                    <a:pt x="18" y="14"/>
                  </a:lnTo>
                  <a:lnTo>
                    <a:pt x="0" y="1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61" name="Freeform 155"/>
            <p:cNvSpPr>
              <a:spLocks/>
            </p:cNvSpPr>
            <p:nvPr/>
          </p:nvSpPr>
          <p:spPr bwMode="auto">
            <a:xfrm>
              <a:off x="2217046" y="1462186"/>
              <a:ext cx="12387" cy="10173"/>
            </a:xfrm>
            <a:custGeom>
              <a:avLst/>
              <a:gdLst>
                <a:gd name="T0" fmla="*/ 8 w 18"/>
                <a:gd name="T1" fmla="*/ 0 h 14"/>
                <a:gd name="T2" fmla="*/ 14 w 18"/>
                <a:gd name="T3" fmla="*/ 4 h 14"/>
                <a:gd name="T4" fmla="*/ 18 w 18"/>
                <a:gd name="T5" fmla="*/ 14 h 14"/>
                <a:gd name="T6" fmla="*/ 0 w 18"/>
                <a:gd name="T7" fmla="*/ 14 h 14"/>
                <a:gd name="T8" fmla="*/ 8 w 18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4">
                  <a:moveTo>
                    <a:pt x="8" y="0"/>
                  </a:moveTo>
                  <a:lnTo>
                    <a:pt x="14" y="4"/>
                  </a:lnTo>
                  <a:lnTo>
                    <a:pt x="18" y="14"/>
                  </a:lnTo>
                  <a:lnTo>
                    <a:pt x="0" y="1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62" name="Freeform 156"/>
            <p:cNvSpPr>
              <a:spLocks/>
            </p:cNvSpPr>
            <p:nvPr/>
          </p:nvSpPr>
          <p:spPr bwMode="auto">
            <a:xfrm>
              <a:off x="1904610" y="1784801"/>
              <a:ext cx="17893" cy="10173"/>
            </a:xfrm>
            <a:custGeom>
              <a:avLst/>
              <a:gdLst>
                <a:gd name="T0" fmla="*/ 26 w 26"/>
                <a:gd name="T1" fmla="*/ 8 h 14"/>
                <a:gd name="T2" fmla="*/ 6 w 26"/>
                <a:gd name="T3" fmla="*/ 0 h 14"/>
                <a:gd name="T4" fmla="*/ 0 w 26"/>
                <a:gd name="T5" fmla="*/ 6 h 14"/>
                <a:gd name="T6" fmla="*/ 2 w 26"/>
                <a:gd name="T7" fmla="*/ 14 h 14"/>
                <a:gd name="T8" fmla="*/ 26 w 26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4">
                  <a:moveTo>
                    <a:pt x="26" y="8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2" y="14"/>
                  </a:lnTo>
                  <a:lnTo>
                    <a:pt x="26" y="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63" name="Freeform 157"/>
            <p:cNvSpPr>
              <a:spLocks/>
            </p:cNvSpPr>
            <p:nvPr/>
          </p:nvSpPr>
          <p:spPr bwMode="auto">
            <a:xfrm>
              <a:off x="1904610" y="1784801"/>
              <a:ext cx="17893" cy="10173"/>
            </a:xfrm>
            <a:custGeom>
              <a:avLst/>
              <a:gdLst>
                <a:gd name="T0" fmla="*/ 26 w 26"/>
                <a:gd name="T1" fmla="*/ 8 h 14"/>
                <a:gd name="T2" fmla="*/ 6 w 26"/>
                <a:gd name="T3" fmla="*/ 0 h 14"/>
                <a:gd name="T4" fmla="*/ 0 w 26"/>
                <a:gd name="T5" fmla="*/ 6 h 14"/>
                <a:gd name="T6" fmla="*/ 2 w 26"/>
                <a:gd name="T7" fmla="*/ 14 h 14"/>
                <a:gd name="T8" fmla="*/ 26 w 26"/>
                <a:gd name="T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4">
                  <a:moveTo>
                    <a:pt x="26" y="8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2" y="14"/>
                  </a:lnTo>
                  <a:lnTo>
                    <a:pt x="26" y="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64" name="Freeform 158"/>
            <p:cNvSpPr>
              <a:spLocks/>
            </p:cNvSpPr>
            <p:nvPr/>
          </p:nvSpPr>
          <p:spPr bwMode="auto">
            <a:xfrm>
              <a:off x="2045000" y="2457644"/>
              <a:ext cx="178928" cy="81381"/>
            </a:xfrm>
            <a:custGeom>
              <a:avLst/>
              <a:gdLst>
                <a:gd name="T0" fmla="*/ 88 w 260"/>
                <a:gd name="T1" fmla="*/ 6 h 112"/>
                <a:gd name="T2" fmla="*/ 98 w 260"/>
                <a:gd name="T3" fmla="*/ 0 h 112"/>
                <a:gd name="T4" fmla="*/ 108 w 260"/>
                <a:gd name="T5" fmla="*/ 0 h 112"/>
                <a:gd name="T6" fmla="*/ 112 w 260"/>
                <a:gd name="T7" fmla="*/ 8 h 112"/>
                <a:gd name="T8" fmla="*/ 122 w 260"/>
                <a:gd name="T9" fmla="*/ 0 h 112"/>
                <a:gd name="T10" fmla="*/ 132 w 260"/>
                <a:gd name="T11" fmla="*/ 4 h 112"/>
                <a:gd name="T12" fmla="*/ 146 w 260"/>
                <a:gd name="T13" fmla="*/ 18 h 112"/>
                <a:gd name="T14" fmla="*/ 162 w 260"/>
                <a:gd name="T15" fmla="*/ 26 h 112"/>
                <a:gd name="T16" fmla="*/ 168 w 260"/>
                <a:gd name="T17" fmla="*/ 26 h 112"/>
                <a:gd name="T18" fmla="*/ 176 w 260"/>
                <a:gd name="T19" fmla="*/ 20 h 112"/>
                <a:gd name="T20" fmla="*/ 184 w 260"/>
                <a:gd name="T21" fmla="*/ 18 h 112"/>
                <a:gd name="T22" fmla="*/ 206 w 260"/>
                <a:gd name="T23" fmla="*/ 24 h 112"/>
                <a:gd name="T24" fmla="*/ 236 w 260"/>
                <a:gd name="T25" fmla="*/ 30 h 112"/>
                <a:gd name="T26" fmla="*/ 260 w 260"/>
                <a:gd name="T27" fmla="*/ 36 h 112"/>
                <a:gd name="T28" fmla="*/ 252 w 260"/>
                <a:gd name="T29" fmla="*/ 46 h 112"/>
                <a:gd name="T30" fmla="*/ 236 w 260"/>
                <a:gd name="T31" fmla="*/ 60 h 112"/>
                <a:gd name="T32" fmla="*/ 232 w 260"/>
                <a:gd name="T33" fmla="*/ 66 h 112"/>
                <a:gd name="T34" fmla="*/ 234 w 260"/>
                <a:gd name="T35" fmla="*/ 76 h 112"/>
                <a:gd name="T36" fmla="*/ 224 w 260"/>
                <a:gd name="T37" fmla="*/ 76 h 112"/>
                <a:gd name="T38" fmla="*/ 212 w 260"/>
                <a:gd name="T39" fmla="*/ 68 h 112"/>
                <a:gd name="T40" fmla="*/ 200 w 260"/>
                <a:gd name="T41" fmla="*/ 66 h 112"/>
                <a:gd name="T42" fmla="*/ 172 w 260"/>
                <a:gd name="T43" fmla="*/ 72 h 112"/>
                <a:gd name="T44" fmla="*/ 164 w 260"/>
                <a:gd name="T45" fmla="*/ 78 h 112"/>
                <a:gd name="T46" fmla="*/ 156 w 260"/>
                <a:gd name="T47" fmla="*/ 88 h 112"/>
                <a:gd name="T48" fmla="*/ 142 w 260"/>
                <a:gd name="T49" fmla="*/ 98 h 112"/>
                <a:gd name="T50" fmla="*/ 132 w 260"/>
                <a:gd name="T51" fmla="*/ 98 h 112"/>
                <a:gd name="T52" fmla="*/ 122 w 260"/>
                <a:gd name="T53" fmla="*/ 90 h 112"/>
                <a:gd name="T54" fmla="*/ 114 w 260"/>
                <a:gd name="T55" fmla="*/ 90 h 112"/>
                <a:gd name="T56" fmla="*/ 84 w 260"/>
                <a:gd name="T57" fmla="*/ 104 h 112"/>
                <a:gd name="T58" fmla="*/ 70 w 260"/>
                <a:gd name="T59" fmla="*/ 110 h 112"/>
                <a:gd name="T60" fmla="*/ 60 w 260"/>
                <a:gd name="T61" fmla="*/ 112 h 112"/>
                <a:gd name="T62" fmla="*/ 36 w 260"/>
                <a:gd name="T63" fmla="*/ 110 h 112"/>
                <a:gd name="T64" fmla="*/ 28 w 260"/>
                <a:gd name="T65" fmla="*/ 110 h 112"/>
                <a:gd name="T66" fmla="*/ 20 w 260"/>
                <a:gd name="T67" fmla="*/ 100 h 112"/>
                <a:gd name="T68" fmla="*/ 16 w 260"/>
                <a:gd name="T69" fmla="*/ 96 h 112"/>
                <a:gd name="T70" fmla="*/ 8 w 260"/>
                <a:gd name="T71" fmla="*/ 92 h 112"/>
                <a:gd name="T72" fmla="*/ 4 w 260"/>
                <a:gd name="T73" fmla="*/ 88 h 112"/>
                <a:gd name="T74" fmla="*/ 0 w 260"/>
                <a:gd name="T75" fmla="*/ 76 h 112"/>
                <a:gd name="T76" fmla="*/ 0 w 260"/>
                <a:gd name="T77" fmla="*/ 64 h 112"/>
                <a:gd name="T78" fmla="*/ 26 w 260"/>
                <a:gd name="T79" fmla="*/ 54 h 112"/>
                <a:gd name="T80" fmla="*/ 54 w 260"/>
                <a:gd name="T81" fmla="*/ 54 h 112"/>
                <a:gd name="T82" fmla="*/ 70 w 260"/>
                <a:gd name="T83" fmla="*/ 38 h 112"/>
                <a:gd name="T84" fmla="*/ 72 w 260"/>
                <a:gd name="T85" fmla="*/ 12 h 112"/>
                <a:gd name="T86" fmla="*/ 88 w 260"/>
                <a:gd name="T87" fmla="*/ 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0" h="112">
                  <a:moveTo>
                    <a:pt x="88" y="6"/>
                  </a:moveTo>
                  <a:lnTo>
                    <a:pt x="98" y="0"/>
                  </a:lnTo>
                  <a:lnTo>
                    <a:pt x="108" y="0"/>
                  </a:lnTo>
                  <a:lnTo>
                    <a:pt x="112" y="8"/>
                  </a:lnTo>
                  <a:lnTo>
                    <a:pt x="122" y="0"/>
                  </a:lnTo>
                  <a:lnTo>
                    <a:pt x="132" y="4"/>
                  </a:lnTo>
                  <a:lnTo>
                    <a:pt x="146" y="18"/>
                  </a:lnTo>
                  <a:lnTo>
                    <a:pt x="162" y="26"/>
                  </a:lnTo>
                  <a:lnTo>
                    <a:pt x="168" y="26"/>
                  </a:lnTo>
                  <a:lnTo>
                    <a:pt x="176" y="20"/>
                  </a:lnTo>
                  <a:lnTo>
                    <a:pt x="184" y="18"/>
                  </a:lnTo>
                  <a:lnTo>
                    <a:pt x="206" y="24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52" y="46"/>
                  </a:lnTo>
                  <a:lnTo>
                    <a:pt x="236" y="60"/>
                  </a:lnTo>
                  <a:lnTo>
                    <a:pt x="232" y="66"/>
                  </a:lnTo>
                  <a:lnTo>
                    <a:pt x="234" y="76"/>
                  </a:lnTo>
                  <a:lnTo>
                    <a:pt x="224" y="76"/>
                  </a:lnTo>
                  <a:lnTo>
                    <a:pt x="212" y="68"/>
                  </a:lnTo>
                  <a:lnTo>
                    <a:pt x="200" y="66"/>
                  </a:lnTo>
                  <a:lnTo>
                    <a:pt x="172" y="72"/>
                  </a:lnTo>
                  <a:lnTo>
                    <a:pt x="164" y="78"/>
                  </a:lnTo>
                  <a:lnTo>
                    <a:pt x="156" y="88"/>
                  </a:lnTo>
                  <a:lnTo>
                    <a:pt x="142" y="98"/>
                  </a:lnTo>
                  <a:lnTo>
                    <a:pt x="132" y="98"/>
                  </a:lnTo>
                  <a:lnTo>
                    <a:pt x="122" y="90"/>
                  </a:lnTo>
                  <a:lnTo>
                    <a:pt x="114" y="90"/>
                  </a:lnTo>
                  <a:lnTo>
                    <a:pt x="84" y="104"/>
                  </a:lnTo>
                  <a:lnTo>
                    <a:pt x="70" y="110"/>
                  </a:lnTo>
                  <a:lnTo>
                    <a:pt x="60" y="112"/>
                  </a:lnTo>
                  <a:lnTo>
                    <a:pt x="36" y="110"/>
                  </a:lnTo>
                  <a:lnTo>
                    <a:pt x="28" y="110"/>
                  </a:lnTo>
                  <a:lnTo>
                    <a:pt x="20" y="100"/>
                  </a:lnTo>
                  <a:lnTo>
                    <a:pt x="16" y="96"/>
                  </a:lnTo>
                  <a:lnTo>
                    <a:pt x="8" y="92"/>
                  </a:lnTo>
                  <a:lnTo>
                    <a:pt x="4" y="88"/>
                  </a:lnTo>
                  <a:lnTo>
                    <a:pt x="0" y="76"/>
                  </a:lnTo>
                  <a:lnTo>
                    <a:pt x="0" y="64"/>
                  </a:lnTo>
                  <a:lnTo>
                    <a:pt x="26" y="54"/>
                  </a:lnTo>
                  <a:lnTo>
                    <a:pt x="54" y="54"/>
                  </a:lnTo>
                  <a:lnTo>
                    <a:pt x="70" y="38"/>
                  </a:lnTo>
                  <a:lnTo>
                    <a:pt x="72" y="12"/>
                  </a:lnTo>
                  <a:lnTo>
                    <a:pt x="88" y="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65" name="Freeform 159"/>
            <p:cNvSpPr>
              <a:spLocks/>
            </p:cNvSpPr>
            <p:nvPr/>
          </p:nvSpPr>
          <p:spPr bwMode="auto">
            <a:xfrm>
              <a:off x="2045000" y="2457644"/>
              <a:ext cx="178928" cy="81381"/>
            </a:xfrm>
            <a:custGeom>
              <a:avLst/>
              <a:gdLst>
                <a:gd name="T0" fmla="*/ 88 w 260"/>
                <a:gd name="T1" fmla="*/ 6 h 112"/>
                <a:gd name="T2" fmla="*/ 98 w 260"/>
                <a:gd name="T3" fmla="*/ 0 h 112"/>
                <a:gd name="T4" fmla="*/ 108 w 260"/>
                <a:gd name="T5" fmla="*/ 0 h 112"/>
                <a:gd name="T6" fmla="*/ 112 w 260"/>
                <a:gd name="T7" fmla="*/ 8 h 112"/>
                <a:gd name="T8" fmla="*/ 122 w 260"/>
                <a:gd name="T9" fmla="*/ 0 h 112"/>
                <a:gd name="T10" fmla="*/ 132 w 260"/>
                <a:gd name="T11" fmla="*/ 4 h 112"/>
                <a:gd name="T12" fmla="*/ 146 w 260"/>
                <a:gd name="T13" fmla="*/ 18 h 112"/>
                <a:gd name="T14" fmla="*/ 162 w 260"/>
                <a:gd name="T15" fmla="*/ 26 h 112"/>
                <a:gd name="T16" fmla="*/ 168 w 260"/>
                <a:gd name="T17" fmla="*/ 26 h 112"/>
                <a:gd name="T18" fmla="*/ 176 w 260"/>
                <a:gd name="T19" fmla="*/ 20 h 112"/>
                <a:gd name="T20" fmla="*/ 184 w 260"/>
                <a:gd name="T21" fmla="*/ 18 h 112"/>
                <a:gd name="T22" fmla="*/ 206 w 260"/>
                <a:gd name="T23" fmla="*/ 24 h 112"/>
                <a:gd name="T24" fmla="*/ 236 w 260"/>
                <a:gd name="T25" fmla="*/ 30 h 112"/>
                <a:gd name="T26" fmla="*/ 260 w 260"/>
                <a:gd name="T27" fmla="*/ 36 h 112"/>
                <a:gd name="T28" fmla="*/ 252 w 260"/>
                <a:gd name="T29" fmla="*/ 46 h 112"/>
                <a:gd name="T30" fmla="*/ 236 w 260"/>
                <a:gd name="T31" fmla="*/ 60 h 112"/>
                <a:gd name="T32" fmla="*/ 232 w 260"/>
                <a:gd name="T33" fmla="*/ 66 h 112"/>
                <a:gd name="T34" fmla="*/ 234 w 260"/>
                <a:gd name="T35" fmla="*/ 76 h 112"/>
                <a:gd name="T36" fmla="*/ 224 w 260"/>
                <a:gd name="T37" fmla="*/ 76 h 112"/>
                <a:gd name="T38" fmla="*/ 212 w 260"/>
                <a:gd name="T39" fmla="*/ 68 h 112"/>
                <a:gd name="T40" fmla="*/ 200 w 260"/>
                <a:gd name="T41" fmla="*/ 66 h 112"/>
                <a:gd name="T42" fmla="*/ 172 w 260"/>
                <a:gd name="T43" fmla="*/ 72 h 112"/>
                <a:gd name="T44" fmla="*/ 164 w 260"/>
                <a:gd name="T45" fmla="*/ 78 h 112"/>
                <a:gd name="T46" fmla="*/ 156 w 260"/>
                <a:gd name="T47" fmla="*/ 88 h 112"/>
                <a:gd name="T48" fmla="*/ 142 w 260"/>
                <a:gd name="T49" fmla="*/ 98 h 112"/>
                <a:gd name="T50" fmla="*/ 132 w 260"/>
                <a:gd name="T51" fmla="*/ 98 h 112"/>
                <a:gd name="T52" fmla="*/ 122 w 260"/>
                <a:gd name="T53" fmla="*/ 90 h 112"/>
                <a:gd name="T54" fmla="*/ 114 w 260"/>
                <a:gd name="T55" fmla="*/ 90 h 112"/>
                <a:gd name="T56" fmla="*/ 84 w 260"/>
                <a:gd name="T57" fmla="*/ 104 h 112"/>
                <a:gd name="T58" fmla="*/ 70 w 260"/>
                <a:gd name="T59" fmla="*/ 110 h 112"/>
                <a:gd name="T60" fmla="*/ 60 w 260"/>
                <a:gd name="T61" fmla="*/ 112 h 112"/>
                <a:gd name="T62" fmla="*/ 36 w 260"/>
                <a:gd name="T63" fmla="*/ 110 h 112"/>
                <a:gd name="T64" fmla="*/ 28 w 260"/>
                <a:gd name="T65" fmla="*/ 110 h 112"/>
                <a:gd name="T66" fmla="*/ 20 w 260"/>
                <a:gd name="T67" fmla="*/ 100 h 112"/>
                <a:gd name="T68" fmla="*/ 16 w 260"/>
                <a:gd name="T69" fmla="*/ 96 h 112"/>
                <a:gd name="T70" fmla="*/ 8 w 260"/>
                <a:gd name="T71" fmla="*/ 92 h 112"/>
                <a:gd name="T72" fmla="*/ 4 w 260"/>
                <a:gd name="T73" fmla="*/ 88 h 112"/>
                <a:gd name="T74" fmla="*/ 0 w 260"/>
                <a:gd name="T75" fmla="*/ 76 h 112"/>
                <a:gd name="T76" fmla="*/ 0 w 260"/>
                <a:gd name="T77" fmla="*/ 64 h 112"/>
                <a:gd name="T78" fmla="*/ 26 w 260"/>
                <a:gd name="T79" fmla="*/ 54 h 112"/>
                <a:gd name="T80" fmla="*/ 54 w 260"/>
                <a:gd name="T81" fmla="*/ 54 h 112"/>
                <a:gd name="T82" fmla="*/ 70 w 260"/>
                <a:gd name="T83" fmla="*/ 38 h 112"/>
                <a:gd name="T84" fmla="*/ 72 w 260"/>
                <a:gd name="T85" fmla="*/ 12 h 112"/>
                <a:gd name="T86" fmla="*/ 88 w 260"/>
                <a:gd name="T87" fmla="*/ 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0" h="112">
                  <a:moveTo>
                    <a:pt x="88" y="6"/>
                  </a:moveTo>
                  <a:lnTo>
                    <a:pt x="98" y="0"/>
                  </a:lnTo>
                  <a:lnTo>
                    <a:pt x="108" y="0"/>
                  </a:lnTo>
                  <a:lnTo>
                    <a:pt x="112" y="8"/>
                  </a:lnTo>
                  <a:lnTo>
                    <a:pt x="122" y="0"/>
                  </a:lnTo>
                  <a:lnTo>
                    <a:pt x="132" y="4"/>
                  </a:lnTo>
                  <a:lnTo>
                    <a:pt x="146" y="18"/>
                  </a:lnTo>
                  <a:lnTo>
                    <a:pt x="162" y="26"/>
                  </a:lnTo>
                  <a:lnTo>
                    <a:pt x="168" y="26"/>
                  </a:lnTo>
                  <a:lnTo>
                    <a:pt x="176" y="20"/>
                  </a:lnTo>
                  <a:lnTo>
                    <a:pt x="184" y="18"/>
                  </a:lnTo>
                  <a:lnTo>
                    <a:pt x="206" y="24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52" y="46"/>
                  </a:lnTo>
                  <a:lnTo>
                    <a:pt x="236" y="60"/>
                  </a:lnTo>
                  <a:lnTo>
                    <a:pt x="232" y="66"/>
                  </a:lnTo>
                  <a:lnTo>
                    <a:pt x="234" y="76"/>
                  </a:lnTo>
                  <a:lnTo>
                    <a:pt x="224" y="76"/>
                  </a:lnTo>
                  <a:lnTo>
                    <a:pt x="212" y="68"/>
                  </a:lnTo>
                  <a:lnTo>
                    <a:pt x="200" y="66"/>
                  </a:lnTo>
                  <a:lnTo>
                    <a:pt x="172" y="72"/>
                  </a:lnTo>
                  <a:lnTo>
                    <a:pt x="164" y="78"/>
                  </a:lnTo>
                  <a:lnTo>
                    <a:pt x="156" y="88"/>
                  </a:lnTo>
                  <a:lnTo>
                    <a:pt x="142" y="98"/>
                  </a:lnTo>
                  <a:lnTo>
                    <a:pt x="132" y="98"/>
                  </a:lnTo>
                  <a:lnTo>
                    <a:pt x="122" y="90"/>
                  </a:lnTo>
                  <a:lnTo>
                    <a:pt x="114" y="90"/>
                  </a:lnTo>
                  <a:lnTo>
                    <a:pt x="84" y="104"/>
                  </a:lnTo>
                  <a:lnTo>
                    <a:pt x="70" y="110"/>
                  </a:lnTo>
                  <a:lnTo>
                    <a:pt x="60" y="112"/>
                  </a:lnTo>
                  <a:lnTo>
                    <a:pt x="36" y="110"/>
                  </a:lnTo>
                  <a:lnTo>
                    <a:pt x="28" y="110"/>
                  </a:lnTo>
                  <a:lnTo>
                    <a:pt x="20" y="100"/>
                  </a:lnTo>
                  <a:lnTo>
                    <a:pt x="16" y="96"/>
                  </a:lnTo>
                  <a:lnTo>
                    <a:pt x="8" y="92"/>
                  </a:lnTo>
                  <a:lnTo>
                    <a:pt x="4" y="88"/>
                  </a:lnTo>
                  <a:lnTo>
                    <a:pt x="0" y="76"/>
                  </a:lnTo>
                  <a:lnTo>
                    <a:pt x="0" y="64"/>
                  </a:lnTo>
                  <a:lnTo>
                    <a:pt x="26" y="54"/>
                  </a:lnTo>
                  <a:lnTo>
                    <a:pt x="54" y="54"/>
                  </a:lnTo>
                  <a:lnTo>
                    <a:pt x="70" y="38"/>
                  </a:lnTo>
                  <a:lnTo>
                    <a:pt x="72" y="12"/>
                  </a:lnTo>
                  <a:lnTo>
                    <a:pt x="88" y="6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70" name="Freeform 164"/>
            <p:cNvSpPr>
              <a:spLocks/>
            </p:cNvSpPr>
            <p:nvPr/>
          </p:nvSpPr>
          <p:spPr bwMode="auto">
            <a:xfrm>
              <a:off x="2078033" y="2621858"/>
              <a:ext cx="166541" cy="203451"/>
            </a:xfrm>
            <a:custGeom>
              <a:avLst/>
              <a:gdLst>
                <a:gd name="T0" fmla="*/ 88 w 242"/>
                <a:gd name="T1" fmla="*/ 2 h 280"/>
                <a:gd name="T2" fmla="*/ 124 w 242"/>
                <a:gd name="T3" fmla="*/ 0 h 280"/>
                <a:gd name="T4" fmla="*/ 132 w 242"/>
                <a:gd name="T5" fmla="*/ 8 h 280"/>
                <a:gd name="T6" fmla="*/ 138 w 242"/>
                <a:gd name="T7" fmla="*/ 14 h 280"/>
                <a:gd name="T8" fmla="*/ 144 w 242"/>
                <a:gd name="T9" fmla="*/ 42 h 280"/>
                <a:gd name="T10" fmla="*/ 164 w 242"/>
                <a:gd name="T11" fmla="*/ 46 h 280"/>
                <a:gd name="T12" fmla="*/ 174 w 242"/>
                <a:gd name="T13" fmla="*/ 84 h 280"/>
                <a:gd name="T14" fmla="*/ 186 w 242"/>
                <a:gd name="T15" fmla="*/ 94 h 280"/>
                <a:gd name="T16" fmla="*/ 208 w 242"/>
                <a:gd name="T17" fmla="*/ 90 h 280"/>
                <a:gd name="T18" fmla="*/ 224 w 242"/>
                <a:gd name="T19" fmla="*/ 112 h 280"/>
                <a:gd name="T20" fmla="*/ 222 w 242"/>
                <a:gd name="T21" fmla="*/ 130 h 280"/>
                <a:gd name="T22" fmla="*/ 218 w 242"/>
                <a:gd name="T23" fmla="*/ 138 h 280"/>
                <a:gd name="T24" fmla="*/ 226 w 242"/>
                <a:gd name="T25" fmla="*/ 164 h 280"/>
                <a:gd name="T26" fmla="*/ 242 w 242"/>
                <a:gd name="T27" fmla="*/ 176 h 280"/>
                <a:gd name="T28" fmla="*/ 220 w 242"/>
                <a:gd name="T29" fmla="*/ 208 h 280"/>
                <a:gd name="T30" fmla="*/ 218 w 242"/>
                <a:gd name="T31" fmla="*/ 248 h 280"/>
                <a:gd name="T32" fmla="*/ 200 w 242"/>
                <a:gd name="T33" fmla="*/ 256 h 280"/>
                <a:gd name="T34" fmla="*/ 178 w 242"/>
                <a:gd name="T35" fmla="*/ 260 h 280"/>
                <a:gd name="T36" fmla="*/ 152 w 242"/>
                <a:gd name="T37" fmla="*/ 266 h 280"/>
                <a:gd name="T38" fmla="*/ 132 w 242"/>
                <a:gd name="T39" fmla="*/ 254 h 280"/>
                <a:gd name="T40" fmla="*/ 112 w 242"/>
                <a:gd name="T41" fmla="*/ 246 h 280"/>
                <a:gd name="T42" fmla="*/ 100 w 242"/>
                <a:gd name="T43" fmla="*/ 234 h 280"/>
                <a:gd name="T44" fmla="*/ 78 w 242"/>
                <a:gd name="T45" fmla="*/ 234 h 280"/>
                <a:gd name="T46" fmla="*/ 68 w 242"/>
                <a:gd name="T47" fmla="*/ 258 h 280"/>
                <a:gd name="T48" fmla="*/ 10 w 242"/>
                <a:gd name="T49" fmla="*/ 230 h 280"/>
                <a:gd name="T50" fmla="*/ 14 w 242"/>
                <a:gd name="T51" fmla="*/ 204 h 280"/>
                <a:gd name="T52" fmla="*/ 24 w 242"/>
                <a:gd name="T53" fmla="*/ 182 h 280"/>
                <a:gd name="T54" fmla="*/ 40 w 242"/>
                <a:gd name="T55" fmla="*/ 164 h 280"/>
                <a:gd name="T56" fmla="*/ 56 w 242"/>
                <a:gd name="T57" fmla="*/ 146 h 280"/>
                <a:gd name="T58" fmla="*/ 62 w 242"/>
                <a:gd name="T59" fmla="*/ 128 h 280"/>
                <a:gd name="T60" fmla="*/ 62 w 242"/>
                <a:gd name="T61" fmla="*/ 88 h 280"/>
                <a:gd name="T62" fmla="*/ 54 w 242"/>
                <a:gd name="T63" fmla="*/ 56 h 280"/>
                <a:gd name="T64" fmla="*/ 40 w 242"/>
                <a:gd name="T65" fmla="*/ 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2" h="280">
                  <a:moveTo>
                    <a:pt x="40" y="18"/>
                  </a:moveTo>
                  <a:lnTo>
                    <a:pt x="88" y="2"/>
                  </a:lnTo>
                  <a:lnTo>
                    <a:pt x="110" y="0"/>
                  </a:lnTo>
                  <a:lnTo>
                    <a:pt x="124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4" y="14"/>
                  </a:lnTo>
                  <a:lnTo>
                    <a:pt x="138" y="14"/>
                  </a:lnTo>
                  <a:lnTo>
                    <a:pt x="144" y="26"/>
                  </a:lnTo>
                  <a:lnTo>
                    <a:pt x="144" y="42"/>
                  </a:lnTo>
                  <a:lnTo>
                    <a:pt x="150" y="46"/>
                  </a:lnTo>
                  <a:lnTo>
                    <a:pt x="164" y="46"/>
                  </a:lnTo>
                  <a:lnTo>
                    <a:pt x="174" y="70"/>
                  </a:lnTo>
                  <a:lnTo>
                    <a:pt x="174" y="84"/>
                  </a:lnTo>
                  <a:lnTo>
                    <a:pt x="180" y="94"/>
                  </a:lnTo>
                  <a:lnTo>
                    <a:pt x="186" y="94"/>
                  </a:lnTo>
                  <a:lnTo>
                    <a:pt x="200" y="84"/>
                  </a:lnTo>
                  <a:lnTo>
                    <a:pt x="208" y="90"/>
                  </a:lnTo>
                  <a:lnTo>
                    <a:pt x="208" y="104"/>
                  </a:lnTo>
                  <a:lnTo>
                    <a:pt x="224" y="112"/>
                  </a:lnTo>
                  <a:lnTo>
                    <a:pt x="222" y="126"/>
                  </a:lnTo>
                  <a:lnTo>
                    <a:pt x="222" y="130"/>
                  </a:lnTo>
                  <a:lnTo>
                    <a:pt x="224" y="132"/>
                  </a:lnTo>
                  <a:lnTo>
                    <a:pt x="218" y="138"/>
                  </a:lnTo>
                  <a:lnTo>
                    <a:pt x="218" y="148"/>
                  </a:lnTo>
                  <a:lnTo>
                    <a:pt x="226" y="164"/>
                  </a:lnTo>
                  <a:lnTo>
                    <a:pt x="238" y="166"/>
                  </a:lnTo>
                  <a:lnTo>
                    <a:pt x="242" y="176"/>
                  </a:lnTo>
                  <a:lnTo>
                    <a:pt x="238" y="192"/>
                  </a:lnTo>
                  <a:lnTo>
                    <a:pt x="220" y="208"/>
                  </a:lnTo>
                  <a:lnTo>
                    <a:pt x="224" y="236"/>
                  </a:lnTo>
                  <a:lnTo>
                    <a:pt x="218" y="248"/>
                  </a:lnTo>
                  <a:lnTo>
                    <a:pt x="222" y="260"/>
                  </a:lnTo>
                  <a:lnTo>
                    <a:pt x="200" y="256"/>
                  </a:lnTo>
                  <a:lnTo>
                    <a:pt x="188" y="260"/>
                  </a:lnTo>
                  <a:lnTo>
                    <a:pt x="178" y="260"/>
                  </a:lnTo>
                  <a:lnTo>
                    <a:pt x="164" y="264"/>
                  </a:lnTo>
                  <a:lnTo>
                    <a:pt x="152" y="266"/>
                  </a:lnTo>
                  <a:lnTo>
                    <a:pt x="130" y="280"/>
                  </a:lnTo>
                  <a:lnTo>
                    <a:pt x="132" y="254"/>
                  </a:lnTo>
                  <a:lnTo>
                    <a:pt x="126" y="248"/>
                  </a:lnTo>
                  <a:lnTo>
                    <a:pt x="112" y="246"/>
                  </a:lnTo>
                  <a:lnTo>
                    <a:pt x="108" y="234"/>
                  </a:lnTo>
                  <a:lnTo>
                    <a:pt x="100" y="234"/>
                  </a:lnTo>
                  <a:lnTo>
                    <a:pt x="96" y="236"/>
                  </a:lnTo>
                  <a:lnTo>
                    <a:pt x="78" y="234"/>
                  </a:lnTo>
                  <a:lnTo>
                    <a:pt x="70" y="238"/>
                  </a:lnTo>
                  <a:lnTo>
                    <a:pt x="68" y="258"/>
                  </a:lnTo>
                  <a:lnTo>
                    <a:pt x="60" y="274"/>
                  </a:lnTo>
                  <a:lnTo>
                    <a:pt x="10" y="230"/>
                  </a:lnTo>
                  <a:lnTo>
                    <a:pt x="0" y="210"/>
                  </a:lnTo>
                  <a:lnTo>
                    <a:pt x="14" y="204"/>
                  </a:lnTo>
                  <a:lnTo>
                    <a:pt x="24" y="198"/>
                  </a:lnTo>
                  <a:lnTo>
                    <a:pt x="24" y="182"/>
                  </a:lnTo>
                  <a:lnTo>
                    <a:pt x="36" y="176"/>
                  </a:lnTo>
                  <a:lnTo>
                    <a:pt x="40" y="164"/>
                  </a:lnTo>
                  <a:lnTo>
                    <a:pt x="54" y="156"/>
                  </a:lnTo>
                  <a:lnTo>
                    <a:pt x="56" y="146"/>
                  </a:lnTo>
                  <a:lnTo>
                    <a:pt x="54" y="134"/>
                  </a:lnTo>
                  <a:lnTo>
                    <a:pt x="62" y="128"/>
                  </a:lnTo>
                  <a:lnTo>
                    <a:pt x="50" y="110"/>
                  </a:lnTo>
                  <a:lnTo>
                    <a:pt x="62" y="88"/>
                  </a:lnTo>
                  <a:lnTo>
                    <a:pt x="50" y="72"/>
                  </a:lnTo>
                  <a:lnTo>
                    <a:pt x="54" y="56"/>
                  </a:lnTo>
                  <a:lnTo>
                    <a:pt x="40" y="42"/>
                  </a:lnTo>
                  <a:lnTo>
                    <a:pt x="40" y="1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71" name="Freeform 165"/>
            <p:cNvSpPr>
              <a:spLocks/>
            </p:cNvSpPr>
            <p:nvPr/>
          </p:nvSpPr>
          <p:spPr bwMode="auto">
            <a:xfrm>
              <a:off x="2078033" y="2621858"/>
              <a:ext cx="166541" cy="203451"/>
            </a:xfrm>
            <a:custGeom>
              <a:avLst/>
              <a:gdLst>
                <a:gd name="T0" fmla="*/ 88 w 242"/>
                <a:gd name="T1" fmla="*/ 2 h 280"/>
                <a:gd name="T2" fmla="*/ 124 w 242"/>
                <a:gd name="T3" fmla="*/ 0 h 280"/>
                <a:gd name="T4" fmla="*/ 132 w 242"/>
                <a:gd name="T5" fmla="*/ 8 h 280"/>
                <a:gd name="T6" fmla="*/ 138 w 242"/>
                <a:gd name="T7" fmla="*/ 14 h 280"/>
                <a:gd name="T8" fmla="*/ 144 w 242"/>
                <a:gd name="T9" fmla="*/ 42 h 280"/>
                <a:gd name="T10" fmla="*/ 164 w 242"/>
                <a:gd name="T11" fmla="*/ 46 h 280"/>
                <a:gd name="T12" fmla="*/ 174 w 242"/>
                <a:gd name="T13" fmla="*/ 84 h 280"/>
                <a:gd name="T14" fmla="*/ 186 w 242"/>
                <a:gd name="T15" fmla="*/ 94 h 280"/>
                <a:gd name="T16" fmla="*/ 208 w 242"/>
                <a:gd name="T17" fmla="*/ 90 h 280"/>
                <a:gd name="T18" fmla="*/ 224 w 242"/>
                <a:gd name="T19" fmla="*/ 112 h 280"/>
                <a:gd name="T20" fmla="*/ 222 w 242"/>
                <a:gd name="T21" fmla="*/ 130 h 280"/>
                <a:gd name="T22" fmla="*/ 218 w 242"/>
                <a:gd name="T23" fmla="*/ 138 h 280"/>
                <a:gd name="T24" fmla="*/ 226 w 242"/>
                <a:gd name="T25" fmla="*/ 164 h 280"/>
                <a:gd name="T26" fmla="*/ 242 w 242"/>
                <a:gd name="T27" fmla="*/ 176 h 280"/>
                <a:gd name="T28" fmla="*/ 220 w 242"/>
                <a:gd name="T29" fmla="*/ 208 h 280"/>
                <a:gd name="T30" fmla="*/ 218 w 242"/>
                <a:gd name="T31" fmla="*/ 248 h 280"/>
                <a:gd name="T32" fmla="*/ 200 w 242"/>
                <a:gd name="T33" fmla="*/ 256 h 280"/>
                <a:gd name="T34" fmla="*/ 178 w 242"/>
                <a:gd name="T35" fmla="*/ 260 h 280"/>
                <a:gd name="T36" fmla="*/ 152 w 242"/>
                <a:gd name="T37" fmla="*/ 266 h 280"/>
                <a:gd name="T38" fmla="*/ 132 w 242"/>
                <a:gd name="T39" fmla="*/ 254 h 280"/>
                <a:gd name="T40" fmla="*/ 112 w 242"/>
                <a:gd name="T41" fmla="*/ 246 h 280"/>
                <a:gd name="T42" fmla="*/ 100 w 242"/>
                <a:gd name="T43" fmla="*/ 234 h 280"/>
                <a:gd name="T44" fmla="*/ 78 w 242"/>
                <a:gd name="T45" fmla="*/ 234 h 280"/>
                <a:gd name="T46" fmla="*/ 68 w 242"/>
                <a:gd name="T47" fmla="*/ 258 h 280"/>
                <a:gd name="T48" fmla="*/ 10 w 242"/>
                <a:gd name="T49" fmla="*/ 230 h 280"/>
                <a:gd name="T50" fmla="*/ 14 w 242"/>
                <a:gd name="T51" fmla="*/ 204 h 280"/>
                <a:gd name="T52" fmla="*/ 24 w 242"/>
                <a:gd name="T53" fmla="*/ 182 h 280"/>
                <a:gd name="T54" fmla="*/ 40 w 242"/>
                <a:gd name="T55" fmla="*/ 164 h 280"/>
                <a:gd name="T56" fmla="*/ 56 w 242"/>
                <a:gd name="T57" fmla="*/ 146 h 280"/>
                <a:gd name="T58" fmla="*/ 62 w 242"/>
                <a:gd name="T59" fmla="*/ 128 h 280"/>
                <a:gd name="T60" fmla="*/ 62 w 242"/>
                <a:gd name="T61" fmla="*/ 88 h 280"/>
                <a:gd name="T62" fmla="*/ 54 w 242"/>
                <a:gd name="T63" fmla="*/ 56 h 280"/>
                <a:gd name="T64" fmla="*/ 40 w 242"/>
                <a:gd name="T65" fmla="*/ 18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2" h="280">
                  <a:moveTo>
                    <a:pt x="40" y="18"/>
                  </a:moveTo>
                  <a:lnTo>
                    <a:pt x="88" y="2"/>
                  </a:lnTo>
                  <a:lnTo>
                    <a:pt x="110" y="0"/>
                  </a:lnTo>
                  <a:lnTo>
                    <a:pt x="124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4" y="14"/>
                  </a:lnTo>
                  <a:lnTo>
                    <a:pt x="138" y="14"/>
                  </a:lnTo>
                  <a:lnTo>
                    <a:pt x="144" y="26"/>
                  </a:lnTo>
                  <a:lnTo>
                    <a:pt x="144" y="42"/>
                  </a:lnTo>
                  <a:lnTo>
                    <a:pt x="150" y="46"/>
                  </a:lnTo>
                  <a:lnTo>
                    <a:pt x="164" y="46"/>
                  </a:lnTo>
                  <a:lnTo>
                    <a:pt x="174" y="70"/>
                  </a:lnTo>
                  <a:lnTo>
                    <a:pt x="174" y="84"/>
                  </a:lnTo>
                  <a:lnTo>
                    <a:pt x="180" y="94"/>
                  </a:lnTo>
                  <a:lnTo>
                    <a:pt x="186" y="94"/>
                  </a:lnTo>
                  <a:lnTo>
                    <a:pt x="200" y="84"/>
                  </a:lnTo>
                  <a:lnTo>
                    <a:pt x="208" y="90"/>
                  </a:lnTo>
                  <a:lnTo>
                    <a:pt x="208" y="104"/>
                  </a:lnTo>
                  <a:lnTo>
                    <a:pt x="224" y="112"/>
                  </a:lnTo>
                  <a:lnTo>
                    <a:pt x="222" y="126"/>
                  </a:lnTo>
                  <a:lnTo>
                    <a:pt x="222" y="130"/>
                  </a:lnTo>
                  <a:lnTo>
                    <a:pt x="224" y="132"/>
                  </a:lnTo>
                  <a:lnTo>
                    <a:pt x="218" y="138"/>
                  </a:lnTo>
                  <a:lnTo>
                    <a:pt x="218" y="148"/>
                  </a:lnTo>
                  <a:lnTo>
                    <a:pt x="226" y="164"/>
                  </a:lnTo>
                  <a:lnTo>
                    <a:pt x="238" y="166"/>
                  </a:lnTo>
                  <a:lnTo>
                    <a:pt x="242" y="176"/>
                  </a:lnTo>
                  <a:lnTo>
                    <a:pt x="238" y="192"/>
                  </a:lnTo>
                  <a:lnTo>
                    <a:pt x="220" y="208"/>
                  </a:lnTo>
                  <a:lnTo>
                    <a:pt x="224" y="236"/>
                  </a:lnTo>
                  <a:lnTo>
                    <a:pt x="218" y="248"/>
                  </a:lnTo>
                  <a:lnTo>
                    <a:pt x="222" y="260"/>
                  </a:lnTo>
                  <a:lnTo>
                    <a:pt x="200" y="256"/>
                  </a:lnTo>
                  <a:lnTo>
                    <a:pt x="188" y="260"/>
                  </a:lnTo>
                  <a:lnTo>
                    <a:pt x="178" y="260"/>
                  </a:lnTo>
                  <a:lnTo>
                    <a:pt x="164" y="264"/>
                  </a:lnTo>
                  <a:lnTo>
                    <a:pt x="152" y="266"/>
                  </a:lnTo>
                  <a:lnTo>
                    <a:pt x="130" y="280"/>
                  </a:lnTo>
                  <a:lnTo>
                    <a:pt x="132" y="254"/>
                  </a:lnTo>
                  <a:lnTo>
                    <a:pt x="126" y="248"/>
                  </a:lnTo>
                  <a:lnTo>
                    <a:pt x="112" y="246"/>
                  </a:lnTo>
                  <a:lnTo>
                    <a:pt x="108" y="234"/>
                  </a:lnTo>
                  <a:lnTo>
                    <a:pt x="100" y="234"/>
                  </a:lnTo>
                  <a:lnTo>
                    <a:pt x="96" y="236"/>
                  </a:lnTo>
                  <a:lnTo>
                    <a:pt x="78" y="234"/>
                  </a:lnTo>
                  <a:lnTo>
                    <a:pt x="70" y="238"/>
                  </a:lnTo>
                  <a:lnTo>
                    <a:pt x="68" y="258"/>
                  </a:lnTo>
                  <a:lnTo>
                    <a:pt x="60" y="274"/>
                  </a:lnTo>
                  <a:lnTo>
                    <a:pt x="10" y="230"/>
                  </a:lnTo>
                  <a:lnTo>
                    <a:pt x="0" y="210"/>
                  </a:lnTo>
                  <a:lnTo>
                    <a:pt x="14" y="204"/>
                  </a:lnTo>
                  <a:lnTo>
                    <a:pt x="24" y="198"/>
                  </a:lnTo>
                  <a:lnTo>
                    <a:pt x="24" y="182"/>
                  </a:lnTo>
                  <a:lnTo>
                    <a:pt x="36" y="176"/>
                  </a:lnTo>
                  <a:lnTo>
                    <a:pt x="40" y="164"/>
                  </a:lnTo>
                  <a:lnTo>
                    <a:pt x="54" y="156"/>
                  </a:lnTo>
                  <a:lnTo>
                    <a:pt x="56" y="146"/>
                  </a:lnTo>
                  <a:lnTo>
                    <a:pt x="54" y="134"/>
                  </a:lnTo>
                  <a:lnTo>
                    <a:pt x="62" y="128"/>
                  </a:lnTo>
                  <a:lnTo>
                    <a:pt x="50" y="110"/>
                  </a:lnTo>
                  <a:lnTo>
                    <a:pt x="62" y="88"/>
                  </a:lnTo>
                  <a:lnTo>
                    <a:pt x="50" y="72"/>
                  </a:lnTo>
                  <a:lnTo>
                    <a:pt x="54" y="56"/>
                  </a:lnTo>
                  <a:lnTo>
                    <a:pt x="40" y="42"/>
                  </a:lnTo>
                  <a:lnTo>
                    <a:pt x="40" y="18"/>
                  </a:lnTo>
                  <a:close/>
                </a:path>
              </a:pathLst>
            </a:custGeom>
            <a:solidFill>
              <a:schemeClr val="lt1"/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72" name="Freeform 166"/>
            <p:cNvSpPr>
              <a:spLocks/>
            </p:cNvSpPr>
            <p:nvPr/>
          </p:nvSpPr>
          <p:spPr bwMode="auto">
            <a:xfrm>
              <a:off x="2345049" y="2508507"/>
              <a:ext cx="114239" cy="130790"/>
            </a:xfrm>
            <a:custGeom>
              <a:avLst/>
              <a:gdLst>
                <a:gd name="T0" fmla="*/ 88 w 166"/>
                <a:gd name="T1" fmla="*/ 180 h 180"/>
                <a:gd name="T2" fmla="*/ 80 w 166"/>
                <a:gd name="T3" fmla="*/ 170 h 180"/>
                <a:gd name="T4" fmla="*/ 78 w 166"/>
                <a:gd name="T5" fmla="*/ 146 h 180"/>
                <a:gd name="T6" fmla="*/ 66 w 166"/>
                <a:gd name="T7" fmla="*/ 128 h 180"/>
                <a:gd name="T8" fmla="*/ 66 w 166"/>
                <a:gd name="T9" fmla="*/ 114 h 180"/>
                <a:gd name="T10" fmla="*/ 68 w 166"/>
                <a:gd name="T11" fmla="*/ 102 h 180"/>
                <a:gd name="T12" fmla="*/ 60 w 166"/>
                <a:gd name="T13" fmla="*/ 88 h 180"/>
                <a:gd name="T14" fmla="*/ 50 w 166"/>
                <a:gd name="T15" fmla="*/ 74 h 180"/>
                <a:gd name="T16" fmla="*/ 44 w 166"/>
                <a:gd name="T17" fmla="*/ 62 h 180"/>
                <a:gd name="T18" fmla="*/ 42 w 166"/>
                <a:gd name="T19" fmla="*/ 54 h 180"/>
                <a:gd name="T20" fmla="*/ 30 w 166"/>
                <a:gd name="T21" fmla="*/ 44 h 180"/>
                <a:gd name="T22" fmla="*/ 22 w 166"/>
                <a:gd name="T23" fmla="*/ 32 h 180"/>
                <a:gd name="T24" fmla="*/ 14 w 166"/>
                <a:gd name="T25" fmla="*/ 20 h 180"/>
                <a:gd name="T26" fmla="*/ 0 w 166"/>
                <a:gd name="T27" fmla="*/ 12 h 180"/>
                <a:gd name="T28" fmla="*/ 22 w 166"/>
                <a:gd name="T29" fmla="*/ 0 h 180"/>
                <a:gd name="T30" fmla="*/ 40 w 166"/>
                <a:gd name="T31" fmla="*/ 2 h 180"/>
                <a:gd name="T32" fmla="*/ 50 w 166"/>
                <a:gd name="T33" fmla="*/ 4 h 180"/>
                <a:gd name="T34" fmla="*/ 80 w 166"/>
                <a:gd name="T35" fmla="*/ 24 h 180"/>
                <a:gd name="T36" fmla="*/ 86 w 166"/>
                <a:gd name="T37" fmla="*/ 28 h 180"/>
                <a:gd name="T38" fmla="*/ 106 w 166"/>
                <a:gd name="T39" fmla="*/ 32 h 180"/>
                <a:gd name="T40" fmla="*/ 118 w 166"/>
                <a:gd name="T41" fmla="*/ 50 h 180"/>
                <a:gd name="T42" fmla="*/ 112 w 166"/>
                <a:gd name="T43" fmla="*/ 64 h 180"/>
                <a:gd name="T44" fmla="*/ 122 w 166"/>
                <a:gd name="T45" fmla="*/ 80 h 180"/>
                <a:gd name="T46" fmla="*/ 140 w 166"/>
                <a:gd name="T47" fmla="*/ 94 h 180"/>
                <a:gd name="T48" fmla="*/ 148 w 166"/>
                <a:gd name="T49" fmla="*/ 104 h 180"/>
                <a:gd name="T50" fmla="*/ 160 w 166"/>
                <a:gd name="T51" fmla="*/ 108 h 180"/>
                <a:gd name="T52" fmla="*/ 166 w 166"/>
                <a:gd name="T53" fmla="*/ 110 h 180"/>
                <a:gd name="T54" fmla="*/ 156 w 166"/>
                <a:gd name="T55" fmla="*/ 116 h 180"/>
                <a:gd name="T56" fmla="*/ 136 w 166"/>
                <a:gd name="T57" fmla="*/ 116 h 180"/>
                <a:gd name="T58" fmla="*/ 118 w 166"/>
                <a:gd name="T59" fmla="*/ 114 h 180"/>
                <a:gd name="T60" fmla="*/ 110 w 166"/>
                <a:gd name="T61" fmla="*/ 118 h 180"/>
                <a:gd name="T62" fmla="*/ 112 w 166"/>
                <a:gd name="T63" fmla="*/ 136 h 180"/>
                <a:gd name="T64" fmla="*/ 110 w 166"/>
                <a:gd name="T65" fmla="*/ 152 h 180"/>
                <a:gd name="T66" fmla="*/ 92 w 166"/>
                <a:gd name="T67" fmla="*/ 170 h 180"/>
                <a:gd name="T68" fmla="*/ 88 w 166"/>
                <a:gd name="T6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6" h="180">
                  <a:moveTo>
                    <a:pt x="88" y="180"/>
                  </a:moveTo>
                  <a:lnTo>
                    <a:pt x="80" y="170"/>
                  </a:lnTo>
                  <a:lnTo>
                    <a:pt x="78" y="146"/>
                  </a:lnTo>
                  <a:lnTo>
                    <a:pt x="66" y="128"/>
                  </a:lnTo>
                  <a:lnTo>
                    <a:pt x="66" y="114"/>
                  </a:lnTo>
                  <a:lnTo>
                    <a:pt x="68" y="102"/>
                  </a:lnTo>
                  <a:lnTo>
                    <a:pt x="60" y="88"/>
                  </a:lnTo>
                  <a:lnTo>
                    <a:pt x="50" y="74"/>
                  </a:lnTo>
                  <a:lnTo>
                    <a:pt x="44" y="62"/>
                  </a:lnTo>
                  <a:lnTo>
                    <a:pt x="42" y="54"/>
                  </a:lnTo>
                  <a:lnTo>
                    <a:pt x="30" y="44"/>
                  </a:lnTo>
                  <a:lnTo>
                    <a:pt x="22" y="32"/>
                  </a:lnTo>
                  <a:lnTo>
                    <a:pt x="14" y="20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40" y="2"/>
                  </a:lnTo>
                  <a:lnTo>
                    <a:pt x="50" y="4"/>
                  </a:lnTo>
                  <a:lnTo>
                    <a:pt x="80" y="24"/>
                  </a:lnTo>
                  <a:lnTo>
                    <a:pt x="86" y="28"/>
                  </a:lnTo>
                  <a:lnTo>
                    <a:pt x="106" y="32"/>
                  </a:lnTo>
                  <a:lnTo>
                    <a:pt x="118" y="50"/>
                  </a:lnTo>
                  <a:lnTo>
                    <a:pt x="112" y="64"/>
                  </a:lnTo>
                  <a:lnTo>
                    <a:pt x="122" y="80"/>
                  </a:lnTo>
                  <a:lnTo>
                    <a:pt x="140" y="94"/>
                  </a:lnTo>
                  <a:lnTo>
                    <a:pt x="148" y="104"/>
                  </a:lnTo>
                  <a:lnTo>
                    <a:pt x="160" y="108"/>
                  </a:lnTo>
                  <a:lnTo>
                    <a:pt x="166" y="110"/>
                  </a:lnTo>
                  <a:lnTo>
                    <a:pt x="156" y="116"/>
                  </a:lnTo>
                  <a:lnTo>
                    <a:pt x="136" y="116"/>
                  </a:lnTo>
                  <a:lnTo>
                    <a:pt x="118" y="114"/>
                  </a:lnTo>
                  <a:lnTo>
                    <a:pt x="110" y="118"/>
                  </a:lnTo>
                  <a:lnTo>
                    <a:pt x="112" y="136"/>
                  </a:lnTo>
                  <a:lnTo>
                    <a:pt x="110" y="152"/>
                  </a:lnTo>
                  <a:lnTo>
                    <a:pt x="92" y="170"/>
                  </a:lnTo>
                  <a:lnTo>
                    <a:pt x="88" y="18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73" name="Freeform 167"/>
            <p:cNvSpPr>
              <a:spLocks/>
            </p:cNvSpPr>
            <p:nvPr/>
          </p:nvSpPr>
          <p:spPr bwMode="auto">
            <a:xfrm>
              <a:off x="2345049" y="2508507"/>
              <a:ext cx="114239" cy="130790"/>
            </a:xfrm>
            <a:custGeom>
              <a:avLst/>
              <a:gdLst>
                <a:gd name="T0" fmla="*/ 88 w 166"/>
                <a:gd name="T1" fmla="*/ 180 h 180"/>
                <a:gd name="T2" fmla="*/ 80 w 166"/>
                <a:gd name="T3" fmla="*/ 170 h 180"/>
                <a:gd name="T4" fmla="*/ 78 w 166"/>
                <a:gd name="T5" fmla="*/ 146 h 180"/>
                <a:gd name="T6" fmla="*/ 66 w 166"/>
                <a:gd name="T7" fmla="*/ 128 h 180"/>
                <a:gd name="T8" fmla="*/ 66 w 166"/>
                <a:gd name="T9" fmla="*/ 114 h 180"/>
                <a:gd name="T10" fmla="*/ 68 w 166"/>
                <a:gd name="T11" fmla="*/ 102 h 180"/>
                <a:gd name="T12" fmla="*/ 60 w 166"/>
                <a:gd name="T13" fmla="*/ 88 h 180"/>
                <a:gd name="T14" fmla="*/ 50 w 166"/>
                <a:gd name="T15" fmla="*/ 74 h 180"/>
                <a:gd name="T16" fmla="*/ 44 w 166"/>
                <a:gd name="T17" fmla="*/ 62 h 180"/>
                <a:gd name="T18" fmla="*/ 42 w 166"/>
                <a:gd name="T19" fmla="*/ 54 h 180"/>
                <a:gd name="T20" fmla="*/ 30 w 166"/>
                <a:gd name="T21" fmla="*/ 44 h 180"/>
                <a:gd name="T22" fmla="*/ 22 w 166"/>
                <a:gd name="T23" fmla="*/ 32 h 180"/>
                <a:gd name="T24" fmla="*/ 14 w 166"/>
                <a:gd name="T25" fmla="*/ 20 h 180"/>
                <a:gd name="T26" fmla="*/ 0 w 166"/>
                <a:gd name="T27" fmla="*/ 12 h 180"/>
                <a:gd name="T28" fmla="*/ 22 w 166"/>
                <a:gd name="T29" fmla="*/ 0 h 180"/>
                <a:gd name="T30" fmla="*/ 40 w 166"/>
                <a:gd name="T31" fmla="*/ 2 h 180"/>
                <a:gd name="T32" fmla="*/ 50 w 166"/>
                <a:gd name="T33" fmla="*/ 4 h 180"/>
                <a:gd name="T34" fmla="*/ 80 w 166"/>
                <a:gd name="T35" fmla="*/ 24 h 180"/>
                <a:gd name="T36" fmla="*/ 86 w 166"/>
                <a:gd name="T37" fmla="*/ 28 h 180"/>
                <a:gd name="T38" fmla="*/ 106 w 166"/>
                <a:gd name="T39" fmla="*/ 32 h 180"/>
                <a:gd name="T40" fmla="*/ 118 w 166"/>
                <a:gd name="T41" fmla="*/ 50 h 180"/>
                <a:gd name="T42" fmla="*/ 112 w 166"/>
                <a:gd name="T43" fmla="*/ 64 h 180"/>
                <a:gd name="T44" fmla="*/ 122 w 166"/>
                <a:gd name="T45" fmla="*/ 80 h 180"/>
                <a:gd name="T46" fmla="*/ 140 w 166"/>
                <a:gd name="T47" fmla="*/ 94 h 180"/>
                <a:gd name="T48" fmla="*/ 148 w 166"/>
                <a:gd name="T49" fmla="*/ 104 h 180"/>
                <a:gd name="T50" fmla="*/ 160 w 166"/>
                <a:gd name="T51" fmla="*/ 108 h 180"/>
                <a:gd name="T52" fmla="*/ 166 w 166"/>
                <a:gd name="T53" fmla="*/ 110 h 180"/>
                <a:gd name="T54" fmla="*/ 156 w 166"/>
                <a:gd name="T55" fmla="*/ 116 h 180"/>
                <a:gd name="T56" fmla="*/ 136 w 166"/>
                <a:gd name="T57" fmla="*/ 116 h 180"/>
                <a:gd name="T58" fmla="*/ 118 w 166"/>
                <a:gd name="T59" fmla="*/ 114 h 180"/>
                <a:gd name="T60" fmla="*/ 110 w 166"/>
                <a:gd name="T61" fmla="*/ 118 h 180"/>
                <a:gd name="T62" fmla="*/ 112 w 166"/>
                <a:gd name="T63" fmla="*/ 136 h 180"/>
                <a:gd name="T64" fmla="*/ 110 w 166"/>
                <a:gd name="T65" fmla="*/ 152 h 180"/>
                <a:gd name="T66" fmla="*/ 92 w 166"/>
                <a:gd name="T67" fmla="*/ 170 h 180"/>
                <a:gd name="T68" fmla="*/ 88 w 166"/>
                <a:gd name="T6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6" h="180">
                  <a:moveTo>
                    <a:pt x="88" y="180"/>
                  </a:moveTo>
                  <a:lnTo>
                    <a:pt x="80" y="170"/>
                  </a:lnTo>
                  <a:lnTo>
                    <a:pt x="78" y="146"/>
                  </a:lnTo>
                  <a:lnTo>
                    <a:pt x="66" y="128"/>
                  </a:lnTo>
                  <a:lnTo>
                    <a:pt x="66" y="114"/>
                  </a:lnTo>
                  <a:lnTo>
                    <a:pt x="68" y="102"/>
                  </a:lnTo>
                  <a:lnTo>
                    <a:pt x="60" y="88"/>
                  </a:lnTo>
                  <a:lnTo>
                    <a:pt x="50" y="74"/>
                  </a:lnTo>
                  <a:lnTo>
                    <a:pt x="44" y="62"/>
                  </a:lnTo>
                  <a:lnTo>
                    <a:pt x="42" y="54"/>
                  </a:lnTo>
                  <a:lnTo>
                    <a:pt x="30" y="44"/>
                  </a:lnTo>
                  <a:lnTo>
                    <a:pt x="22" y="32"/>
                  </a:lnTo>
                  <a:lnTo>
                    <a:pt x="14" y="20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40" y="2"/>
                  </a:lnTo>
                  <a:lnTo>
                    <a:pt x="50" y="4"/>
                  </a:lnTo>
                  <a:lnTo>
                    <a:pt x="80" y="24"/>
                  </a:lnTo>
                  <a:lnTo>
                    <a:pt x="86" y="28"/>
                  </a:lnTo>
                  <a:lnTo>
                    <a:pt x="106" y="32"/>
                  </a:lnTo>
                  <a:lnTo>
                    <a:pt x="118" y="50"/>
                  </a:lnTo>
                  <a:lnTo>
                    <a:pt x="112" y="64"/>
                  </a:lnTo>
                  <a:lnTo>
                    <a:pt x="122" y="80"/>
                  </a:lnTo>
                  <a:lnTo>
                    <a:pt x="140" y="94"/>
                  </a:lnTo>
                  <a:lnTo>
                    <a:pt x="148" y="104"/>
                  </a:lnTo>
                  <a:lnTo>
                    <a:pt x="160" y="108"/>
                  </a:lnTo>
                  <a:lnTo>
                    <a:pt x="166" y="110"/>
                  </a:lnTo>
                  <a:lnTo>
                    <a:pt x="156" y="116"/>
                  </a:lnTo>
                  <a:lnTo>
                    <a:pt x="136" y="116"/>
                  </a:lnTo>
                  <a:lnTo>
                    <a:pt x="118" y="114"/>
                  </a:lnTo>
                  <a:lnTo>
                    <a:pt x="110" y="118"/>
                  </a:lnTo>
                  <a:lnTo>
                    <a:pt x="112" y="136"/>
                  </a:lnTo>
                  <a:lnTo>
                    <a:pt x="110" y="152"/>
                  </a:lnTo>
                  <a:lnTo>
                    <a:pt x="92" y="170"/>
                  </a:lnTo>
                  <a:lnTo>
                    <a:pt x="88" y="180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74" name="Freeform 168"/>
            <p:cNvSpPr>
              <a:spLocks/>
            </p:cNvSpPr>
            <p:nvPr/>
          </p:nvSpPr>
          <p:spPr bwMode="auto">
            <a:xfrm>
              <a:off x="2229434" y="2142294"/>
              <a:ext cx="271145" cy="229609"/>
            </a:xfrm>
            <a:custGeom>
              <a:avLst/>
              <a:gdLst>
                <a:gd name="T0" fmla="*/ 148 w 394"/>
                <a:gd name="T1" fmla="*/ 20 h 316"/>
                <a:gd name="T2" fmla="*/ 128 w 394"/>
                <a:gd name="T3" fmla="*/ 34 h 316"/>
                <a:gd name="T4" fmla="*/ 120 w 394"/>
                <a:gd name="T5" fmla="*/ 48 h 316"/>
                <a:gd name="T6" fmla="*/ 120 w 394"/>
                <a:gd name="T7" fmla="*/ 68 h 316"/>
                <a:gd name="T8" fmla="*/ 96 w 394"/>
                <a:gd name="T9" fmla="*/ 82 h 316"/>
                <a:gd name="T10" fmla="*/ 96 w 394"/>
                <a:gd name="T11" fmla="*/ 100 h 316"/>
                <a:gd name="T12" fmla="*/ 92 w 394"/>
                <a:gd name="T13" fmla="*/ 142 h 316"/>
                <a:gd name="T14" fmla="*/ 72 w 394"/>
                <a:gd name="T15" fmla="*/ 142 h 316"/>
                <a:gd name="T16" fmla="*/ 40 w 394"/>
                <a:gd name="T17" fmla="*/ 168 h 316"/>
                <a:gd name="T18" fmla="*/ 22 w 394"/>
                <a:gd name="T19" fmla="*/ 160 h 316"/>
                <a:gd name="T20" fmla="*/ 12 w 394"/>
                <a:gd name="T21" fmla="*/ 182 h 316"/>
                <a:gd name="T22" fmla="*/ 22 w 394"/>
                <a:gd name="T23" fmla="*/ 214 h 316"/>
                <a:gd name="T24" fmla="*/ 12 w 394"/>
                <a:gd name="T25" fmla="*/ 246 h 316"/>
                <a:gd name="T26" fmla="*/ 4 w 394"/>
                <a:gd name="T27" fmla="*/ 262 h 316"/>
                <a:gd name="T28" fmla="*/ 6 w 394"/>
                <a:gd name="T29" fmla="*/ 284 h 316"/>
                <a:gd name="T30" fmla="*/ 26 w 394"/>
                <a:gd name="T31" fmla="*/ 308 h 316"/>
                <a:gd name="T32" fmla="*/ 80 w 394"/>
                <a:gd name="T33" fmla="*/ 296 h 316"/>
                <a:gd name="T34" fmla="*/ 156 w 394"/>
                <a:gd name="T35" fmla="*/ 304 h 316"/>
                <a:gd name="T36" fmla="*/ 220 w 394"/>
                <a:gd name="T37" fmla="*/ 308 h 316"/>
                <a:gd name="T38" fmla="*/ 250 w 394"/>
                <a:gd name="T39" fmla="*/ 302 h 316"/>
                <a:gd name="T40" fmla="*/ 298 w 394"/>
                <a:gd name="T41" fmla="*/ 304 h 316"/>
                <a:gd name="T42" fmla="*/ 314 w 394"/>
                <a:gd name="T43" fmla="*/ 302 h 316"/>
                <a:gd name="T44" fmla="*/ 338 w 394"/>
                <a:gd name="T45" fmla="*/ 266 h 316"/>
                <a:gd name="T46" fmla="*/ 358 w 394"/>
                <a:gd name="T47" fmla="*/ 258 h 316"/>
                <a:gd name="T48" fmla="*/ 338 w 394"/>
                <a:gd name="T49" fmla="*/ 212 h 316"/>
                <a:gd name="T50" fmla="*/ 368 w 394"/>
                <a:gd name="T51" fmla="*/ 210 h 316"/>
                <a:gd name="T52" fmla="*/ 394 w 394"/>
                <a:gd name="T53" fmla="*/ 172 h 316"/>
                <a:gd name="T54" fmla="*/ 342 w 394"/>
                <a:gd name="T55" fmla="*/ 158 h 316"/>
                <a:gd name="T56" fmla="*/ 332 w 394"/>
                <a:gd name="T57" fmla="*/ 112 h 316"/>
                <a:gd name="T58" fmla="*/ 294 w 394"/>
                <a:gd name="T59" fmla="*/ 72 h 316"/>
                <a:gd name="T60" fmla="*/ 296 w 394"/>
                <a:gd name="T61" fmla="*/ 46 h 316"/>
                <a:gd name="T62" fmla="*/ 272 w 394"/>
                <a:gd name="T63" fmla="*/ 8 h 316"/>
                <a:gd name="T64" fmla="*/ 222 w 394"/>
                <a:gd name="T65" fmla="*/ 14 h 316"/>
                <a:gd name="T66" fmla="*/ 184 w 394"/>
                <a:gd name="T67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94" h="316">
                  <a:moveTo>
                    <a:pt x="158" y="8"/>
                  </a:moveTo>
                  <a:lnTo>
                    <a:pt x="148" y="20"/>
                  </a:lnTo>
                  <a:lnTo>
                    <a:pt x="142" y="32"/>
                  </a:lnTo>
                  <a:lnTo>
                    <a:pt x="128" y="34"/>
                  </a:lnTo>
                  <a:lnTo>
                    <a:pt x="114" y="38"/>
                  </a:lnTo>
                  <a:lnTo>
                    <a:pt x="120" y="48"/>
                  </a:lnTo>
                  <a:lnTo>
                    <a:pt x="120" y="52"/>
                  </a:lnTo>
                  <a:lnTo>
                    <a:pt x="120" y="68"/>
                  </a:lnTo>
                  <a:lnTo>
                    <a:pt x="108" y="70"/>
                  </a:lnTo>
                  <a:lnTo>
                    <a:pt x="96" y="8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8"/>
                  </a:lnTo>
                  <a:lnTo>
                    <a:pt x="92" y="142"/>
                  </a:lnTo>
                  <a:lnTo>
                    <a:pt x="84" y="148"/>
                  </a:lnTo>
                  <a:lnTo>
                    <a:pt x="72" y="142"/>
                  </a:lnTo>
                  <a:lnTo>
                    <a:pt x="54" y="156"/>
                  </a:lnTo>
                  <a:lnTo>
                    <a:pt x="40" y="168"/>
                  </a:lnTo>
                  <a:lnTo>
                    <a:pt x="26" y="160"/>
                  </a:lnTo>
                  <a:lnTo>
                    <a:pt x="22" y="160"/>
                  </a:lnTo>
                  <a:lnTo>
                    <a:pt x="10" y="164"/>
                  </a:lnTo>
                  <a:lnTo>
                    <a:pt x="12" y="182"/>
                  </a:lnTo>
                  <a:lnTo>
                    <a:pt x="18" y="200"/>
                  </a:lnTo>
                  <a:lnTo>
                    <a:pt x="22" y="214"/>
                  </a:lnTo>
                  <a:lnTo>
                    <a:pt x="20" y="230"/>
                  </a:lnTo>
                  <a:lnTo>
                    <a:pt x="12" y="246"/>
                  </a:lnTo>
                  <a:lnTo>
                    <a:pt x="0" y="258"/>
                  </a:lnTo>
                  <a:lnTo>
                    <a:pt x="4" y="262"/>
                  </a:lnTo>
                  <a:lnTo>
                    <a:pt x="14" y="270"/>
                  </a:lnTo>
                  <a:lnTo>
                    <a:pt x="6" y="284"/>
                  </a:lnTo>
                  <a:lnTo>
                    <a:pt x="8" y="308"/>
                  </a:lnTo>
                  <a:lnTo>
                    <a:pt x="26" y="308"/>
                  </a:lnTo>
                  <a:lnTo>
                    <a:pt x="36" y="298"/>
                  </a:lnTo>
                  <a:lnTo>
                    <a:pt x="80" y="296"/>
                  </a:lnTo>
                  <a:lnTo>
                    <a:pt x="120" y="298"/>
                  </a:lnTo>
                  <a:lnTo>
                    <a:pt x="156" y="304"/>
                  </a:lnTo>
                  <a:lnTo>
                    <a:pt x="188" y="310"/>
                  </a:lnTo>
                  <a:lnTo>
                    <a:pt x="220" y="308"/>
                  </a:lnTo>
                  <a:lnTo>
                    <a:pt x="236" y="304"/>
                  </a:lnTo>
                  <a:lnTo>
                    <a:pt x="250" y="302"/>
                  </a:lnTo>
                  <a:lnTo>
                    <a:pt x="268" y="310"/>
                  </a:lnTo>
                  <a:lnTo>
                    <a:pt x="298" y="304"/>
                  </a:lnTo>
                  <a:lnTo>
                    <a:pt x="306" y="316"/>
                  </a:lnTo>
                  <a:lnTo>
                    <a:pt x="314" y="302"/>
                  </a:lnTo>
                  <a:lnTo>
                    <a:pt x="316" y="278"/>
                  </a:lnTo>
                  <a:lnTo>
                    <a:pt x="338" y="266"/>
                  </a:lnTo>
                  <a:lnTo>
                    <a:pt x="358" y="262"/>
                  </a:lnTo>
                  <a:lnTo>
                    <a:pt x="358" y="258"/>
                  </a:lnTo>
                  <a:lnTo>
                    <a:pt x="344" y="230"/>
                  </a:lnTo>
                  <a:lnTo>
                    <a:pt x="338" y="212"/>
                  </a:lnTo>
                  <a:lnTo>
                    <a:pt x="350" y="206"/>
                  </a:lnTo>
                  <a:lnTo>
                    <a:pt x="368" y="210"/>
                  </a:lnTo>
                  <a:lnTo>
                    <a:pt x="394" y="200"/>
                  </a:lnTo>
                  <a:lnTo>
                    <a:pt x="394" y="172"/>
                  </a:lnTo>
                  <a:lnTo>
                    <a:pt x="366" y="164"/>
                  </a:lnTo>
                  <a:lnTo>
                    <a:pt x="342" y="158"/>
                  </a:lnTo>
                  <a:lnTo>
                    <a:pt x="330" y="136"/>
                  </a:lnTo>
                  <a:lnTo>
                    <a:pt x="332" y="112"/>
                  </a:lnTo>
                  <a:lnTo>
                    <a:pt x="308" y="90"/>
                  </a:lnTo>
                  <a:lnTo>
                    <a:pt x="294" y="72"/>
                  </a:lnTo>
                  <a:lnTo>
                    <a:pt x="292" y="56"/>
                  </a:lnTo>
                  <a:lnTo>
                    <a:pt x="296" y="46"/>
                  </a:lnTo>
                  <a:lnTo>
                    <a:pt x="296" y="24"/>
                  </a:lnTo>
                  <a:lnTo>
                    <a:pt x="272" y="8"/>
                  </a:lnTo>
                  <a:lnTo>
                    <a:pt x="246" y="8"/>
                  </a:lnTo>
                  <a:lnTo>
                    <a:pt x="222" y="14"/>
                  </a:lnTo>
                  <a:lnTo>
                    <a:pt x="212" y="4"/>
                  </a:lnTo>
                  <a:lnTo>
                    <a:pt x="184" y="0"/>
                  </a:lnTo>
                  <a:lnTo>
                    <a:pt x="158" y="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75" name="Freeform 169"/>
            <p:cNvSpPr>
              <a:spLocks/>
            </p:cNvSpPr>
            <p:nvPr/>
          </p:nvSpPr>
          <p:spPr bwMode="auto">
            <a:xfrm>
              <a:off x="2229434" y="2142294"/>
              <a:ext cx="271145" cy="229609"/>
            </a:xfrm>
            <a:custGeom>
              <a:avLst/>
              <a:gdLst>
                <a:gd name="T0" fmla="*/ 148 w 394"/>
                <a:gd name="T1" fmla="*/ 20 h 316"/>
                <a:gd name="T2" fmla="*/ 128 w 394"/>
                <a:gd name="T3" fmla="*/ 34 h 316"/>
                <a:gd name="T4" fmla="*/ 120 w 394"/>
                <a:gd name="T5" fmla="*/ 48 h 316"/>
                <a:gd name="T6" fmla="*/ 120 w 394"/>
                <a:gd name="T7" fmla="*/ 68 h 316"/>
                <a:gd name="T8" fmla="*/ 96 w 394"/>
                <a:gd name="T9" fmla="*/ 82 h 316"/>
                <a:gd name="T10" fmla="*/ 96 w 394"/>
                <a:gd name="T11" fmla="*/ 100 h 316"/>
                <a:gd name="T12" fmla="*/ 92 w 394"/>
                <a:gd name="T13" fmla="*/ 142 h 316"/>
                <a:gd name="T14" fmla="*/ 72 w 394"/>
                <a:gd name="T15" fmla="*/ 142 h 316"/>
                <a:gd name="T16" fmla="*/ 40 w 394"/>
                <a:gd name="T17" fmla="*/ 168 h 316"/>
                <a:gd name="T18" fmla="*/ 22 w 394"/>
                <a:gd name="T19" fmla="*/ 160 h 316"/>
                <a:gd name="T20" fmla="*/ 12 w 394"/>
                <a:gd name="T21" fmla="*/ 182 h 316"/>
                <a:gd name="T22" fmla="*/ 22 w 394"/>
                <a:gd name="T23" fmla="*/ 214 h 316"/>
                <a:gd name="T24" fmla="*/ 12 w 394"/>
                <a:gd name="T25" fmla="*/ 246 h 316"/>
                <a:gd name="T26" fmla="*/ 4 w 394"/>
                <a:gd name="T27" fmla="*/ 262 h 316"/>
                <a:gd name="T28" fmla="*/ 6 w 394"/>
                <a:gd name="T29" fmla="*/ 284 h 316"/>
                <a:gd name="T30" fmla="*/ 26 w 394"/>
                <a:gd name="T31" fmla="*/ 308 h 316"/>
                <a:gd name="T32" fmla="*/ 80 w 394"/>
                <a:gd name="T33" fmla="*/ 296 h 316"/>
                <a:gd name="T34" fmla="*/ 156 w 394"/>
                <a:gd name="T35" fmla="*/ 304 h 316"/>
                <a:gd name="T36" fmla="*/ 220 w 394"/>
                <a:gd name="T37" fmla="*/ 308 h 316"/>
                <a:gd name="T38" fmla="*/ 250 w 394"/>
                <a:gd name="T39" fmla="*/ 302 h 316"/>
                <a:gd name="T40" fmla="*/ 298 w 394"/>
                <a:gd name="T41" fmla="*/ 304 h 316"/>
                <a:gd name="T42" fmla="*/ 314 w 394"/>
                <a:gd name="T43" fmla="*/ 302 h 316"/>
                <a:gd name="T44" fmla="*/ 338 w 394"/>
                <a:gd name="T45" fmla="*/ 266 h 316"/>
                <a:gd name="T46" fmla="*/ 358 w 394"/>
                <a:gd name="T47" fmla="*/ 258 h 316"/>
                <a:gd name="T48" fmla="*/ 338 w 394"/>
                <a:gd name="T49" fmla="*/ 212 h 316"/>
                <a:gd name="T50" fmla="*/ 368 w 394"/>
                <a:gd name="T51" fmla="*/ 210 h 316"/>
                <a:gd name="T52" fmla="*/ 394 w 394"/>
                <a:gd name="T53" fmla="*/ 172 h 316"/>
                <a:gd name="T54" fmla="*/ 342 w 394"/>
                <a:gd name="T55" fmla="*/ 158 h 316"/>
                <a:gd name="T56" fmla="*/ 332 w 394"/>
                <a:gd name="T57" fmla="*/ 112 h 316"/>
                <a:gd name="T58" fmla="*/ 294 w 394"/>
                <a:gd name="T59" fmla="*/ 72 h 316"/>
                <a:gd name="T60" fmla="*/ 296 w 394"/>
                <a:gd name="T61" fmla="*/ 46 h 316"/>
                <a:gd name="T62" fmla="*/ 272 w 394"/>
                <a:gd name="T63" fmla="*/ 8 h 316"/>
                <a:gd name="T64" fmla="*/ 222 w 394"/>
                <a:gd name="T65" fmla="*/ 14 h 316"/>
                <a:gd name="T66" fmla="*/ 184 w 394"/>
                <a:gd name="T67" fmla="*/ 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94" h="316">
                  <a:moveTo>
                    <a:pt x="158" y="8"/>
                  </a:moveTo>
                  <a:lnTo>
                    <a:pt x="148" y="20"/>
                  </a:lnTo>
                  <a:lnTo>
                    <a:pt x="142" y="32"/>
                  </a:lnTo>
                  <a:lnTo>
                    <a:pt x="128" y="34"/>
                  </a:lnTo>
                  <a:lnTo>
                    <a:pt x="114" y="38"/>
                  </a:lnTo>
                  <a:lnTo>
                    <a:pt x="120" y="48"/>
                  </a:lnTo>
                  <a:lnTo>
                    <a:pt x="120" y="52"/>
                  </a:lnTo>
                  <a:lnTo>
                    <a:pt x="120" y="68"/>
                  </a:lnTo>
                  <a:lnTo>
                    <a:pt x="108" y="70"/>
                  </a:lnTo>
                  <a:lnTo>
                    <a:pt x="96" y="8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8"/>
                  </a:lnTo>
                  <a:lnTo>
                    <a:pt x="92" y="142"/>
                  </a:lnTo>
                  <a:lnTo>
                    <a:pt x="84" y="148"/>
                  </a:lnTo>
                  <a:lnTo>
                    <a:pt x="72" y="142"/>
                  </a:lnTo>
                  <a:lnTo>
                    <a:pt x="54" y="156"/>
                  </a:lnTo>
                  <a:lnTo>
                    <a:pt x="40" y="168"/>
                  </a:lnTo>
                  <a:lnTo>
                    <a:pt x="26" y="160"/>
                  </a:lnTo>
                  <a:lnTo>
                    <a:pt x="22" y="160"/>
                  </a:lnTo>
                  <a:lnTo>
                    <a:pt x="10" y="164"/>
                  </a:lnTo>
                  <a:lnTo>
                    <a:pt x="12" y="182"/>
                  </a:lnTo>
                  <a:lnTo>
                    <a:pt x="18" y="200"/>
                  </a:lnTo>
                  <a:lnTo>
                    <a:pt x="22" y="214"/>
                  </a:lnTo>
                  <a:lnTo>
                    <a:pt x="20" y="230"/>
                  </a:lnTo>
                  <a:lnTo>
                    <a:pt x="12" y="246"/>
                  </a:lnTo>
                  <a:lnTo>
                    <a:pt x="0" y="258"/>
                  </a:lnTo>
                  <a:lnTo>
                    <a:pt x="4" y="262"/>
                  </a:lnTo>
                  <a:lnTo>
                    <a:pt x="14" y="270"/>
                  </a:lnTo>
                  <a:lnTo>
                    <a:pt x="6" y="284"/>
                  </a:lnTo>
                  <a:lnTo>
                    <a:pt x="8" y="308"/>
                  </a:lnTo>
                  <a:lnTo>
                    <a:pt x="26" y="308"/>
                  </a:lnTo>
                  <a:lnTo>
                    <a:pt x="36" y="298"/>
                  </a:lnTo>
                  <a:lnTo>
                    <a:pt x="80" y="296"/>
                  </a:lnTo>
                  <a:lnTo>
                    <a:pt x="120" y="298"/>
                  </a:lnTo>
                  <a:lnTo>
                    <a:pt x="156" y="304"/>
                  </a:lnTo>
                  <a:lnTo>
                    <a:pt x="188" y="310"/>
                  </a:lnTo>
                  <a:lnTo>
                    <a:pt x="220" y="308"/>
                  </a:lnTo>
                  <a:lnTo>
                    <a:pt x="236" y="304"/>
                  </a:lnTo>
                  <a:lnTo>
                    <a:pt x="250" y="302"/>
                  </a:lnTo>
                  <a:lnTo>
                    <a:pt x="268" y="310"/>
                  </a:lnTo>
                  <a:lnTo>
                    <a:pt x="298" y="304"/>
                  </a:lnTo>
                  <a:lnTo>
                    <a:pt x="306" y="316"/>
                  </a:lnTo>
                  <a:lnTo>
                    <a:pt x="314" y="302"/>
                  </a:lnTo>
                  <a:lnTo>
                    <a:pt x="316" y="278"/>
                  </a:lnTo>
                  <a:lnTo>
                    <a:pt x="338" y="266"/>
                  </a:lnTo>
                  <a:lnTo>
                    <a:pt x="358" y="262"/>
                  </a:lnTo>
                  <a:lnTo>
                    <a:pt x="358" y="258"/>
                  </a:lnTo>
                  <a:lnTo>
                    <a:pt x="344" y="230"/>
                  </a:lnTo>
                  <a:lnTo>
                    <a:pt x="338" y="212"/>
                  </a:lnTo>
                  <a:lnTo>
                    <a:pt x="350" y="206"/>
                  </a:lnTo>
                  <a:lnTo>
                    <a:pt x="368" y="210"/>
                  </a:lnTo>
                  <a:lnTo>
                    <a:pt x="394" y="200"/>
                  </a:lnTo>
                  <a:lnTo>
                    <a:pt x="394" y="172"/>
                  </a:lnTo>
                  <a:lnTo>
                    <a:pt x="366" y="164"/>
                  </a:lnTo>
                  <a:lnTo>
                    <a:pt x="342" y="158"/>
                  </a:lnTo>
                  <a:lnTo>
                    <a:pt x="330" y="136"/>
                  </a:lnTo>
                  <a:lnTo>
                    <a:pt x="332" y="112"/>
                  </a:lnTo>
                  <a:lnTo>
                    <a:pt x="308" y="90"/>
                  </a:lnTo>
                  <a:lnTo>
                    <a:pt x="294" y="72"/>
                  </a:lnTo>
                  <a:lnTo>
                    <a:pt x="292" y="56"/>
                  </a:lnTo>
                  <a:lnTo>
                    <a:pt x="296" y="46"/>
                  </a:lnTo>
                  <a:lnTo>
                    <a:pt x="296" y="24"/>
                  </a:lnTo>
                  <a:lnTo>
                    <a:pt x="272" y="8"/>
                  </a:lnTo>
                  <a:lnTo>
                    <a:pt x="246" y="8"/>
                  </a:lnTo>
                  <a:lnTo>
                    <a:pt x="222" y="14"/>
                  </a:lnTo>
                  <a:lnTo>
                    <a:pt x="212" y="4"/>
                  </a:lnTo>
                  <a:lnTo>
                    <a:pt x="184" y="0"/>
                  </a:lnTo>
                  <a:lnTo>
                    <a:pt x="158" y="8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 w="8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  <p:sp>
          <p:nvSpPr>
            <p:cNvPr id="186" name="Freeform 92"/>
            <p:cNvSpPr>
              <a:spLocks/>
            </p:cNvSpPr>
            <p:nvPr/>
          </p:nvSpPr>
          <p:spPr bwMode="auto">
            <a:xfrm>
              <a:off x="2520206" y="3057334"/>
              <a:ext cx="20646" cy="11626"/>
            </a:xfrm>
            <a:custGeom>
              <a:avLst/>
              <a:gdLst>
                <a:gd name="T0" fmla="*/ 30 w 30"/>
                <a:gd name="T1" fmla="*/ 4 h 16"/>
                <a:gd name="T2" fmla="*/ 16 w 30"/>
                <a:gd name="T3" fmla="*/ 16 h 16"/>
                <a:gd name="T4" fmla="*/ 6 w 30"/>
                <a:gd name="T5" fmla="*/ 16 h 16"/>
                <a:gd name="T6" fmla="*/ 0 w 30"/>
                <a:gd name="T7" fmla="*/ 10 h 16"/>
                <a:gd name="T8" fmla="*/ 4 w 30"/>
                <a:gd name="T9" fmla="*/ 0 h 16"/>
                <a:gd name="T10" fmla="*/ 18 w 30"/>
                <a:gd name="T11" fmla="*/ 0 h 16"/>
                <a:gd name="T12" fmla="*/ 30 w 30"/>
                <a:gd name="T1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6">
                  <a:moveTo>
                    <a:pt x="30" y="4"/>
                  </a:moveTo>
                  <a:lnTo>
                    <a:pt x="16" y="16"/>
                  </a:lnTo>
                  <a:lnTo>
                    <a:pt x="6" y="16"/>
                  </a:lnTo>
                  <a:lnTo>
                    <a:pt x="0" y="10"/>
                  </a:lnTo>
                  <a:lnTo>
                    <a:pt x="4" y="0"/>
                  </a:lnTo>
                  <a:lnTo>
                    <a:pt x="18" y="0"/>
                  </a:lnTo>
                  <a:lnTo>
                    <a:pt x="30" y="4"/>
                  </a:lnTo>
                  <a:close/>
                </a:path>
              </a:pathLst>
            </a:custGeom>
            <a:solidFill>
              <a:schemeClr val="tx2">
                <a:alpha val="6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endParaRPr lang="en-GB" dirty="0"/>
            </a:p>
          </p:txBody>
        </p:sp>
      </p:grpSp>
      <p:cxnSp>
        <p:nvCxnSpPr>
          <p:cNvPr id="166" name="Straight Connector 6"/>
          <p:cNvCxnSpPr/>
          <p:nvPr/>
        </p:nvCxnSpPr>
        <p:spPr bwMode="auto">
          <a:xfrm flipH="1" flipV="1">
            <a:off x="720006" y="3520619"/>
            <a:ext cx="10800482" cy="9762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Dot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Textfeld 2"/>
          <p:cNvSpPr txBox="1"/>
          <p:nvPr/>
        </p:nvSpPr>
        <p:spPr>
          <a:xfrm>
            <a:off x="5185220" y="1439202"/>
            <a:ext cx="6696026" cy="14857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de-DE" sz="2000" dirty="0">
                <a:solidFill>
                  <a:srgbClr val="000000"/>
                </a:solidFill>
                <a:latin typeface="Arial"/>
              </a:rPr>
              <a:t>All </a:t>
            </a:r>
            <a:r>
              <a:rPr lang="de-DE" sz="2000" b="1" dirty="0">
                <a:solidFill>
                  <a:srgbClr val="000000"/>
                </a:solidFill>
                <a:latin typeface="Arial"/>
              </a:rPr>
              <a:t>national </a:t>
            </a:r>
            <a:r>
              <a:rPr lang="de-DE" sz="2000" b="1" dirty="0" err="1">
                <a:solidFill>
                  <a:srgbClr val="000000"/>
                </a:solidFill>
                <a:latin typeface="Arial"/>
              </a:rPr>
              <a:t>mapping</a:t>
            </a:r>
            <a:r>
              <a:rPr lang="de-DE" sz="2000" b="1" dirty="0">
                <a:solidFill>
                  <a:srgbClr val="000000"/>
                </a:solidFill>
                <a:latin typeface="Arial"/>
              </a:rPr>
              <a:t> initiatives </a:t>
            </a:r>
            <a:r>
              <a:rPr lang="de-DE" sz="2000" b="1" dirty="0" err="1">
                <a:solidFill>
                  <a:srgbClr val="000000"/>
                </a:solidFill>
                <a:latin typeface="Arial"/>
              </a:rPr>
              <a:t>from</a:t>
            </a:r>
            <a:r>
              <a:rPr lang="de-DE" sz="2000" b="1" dirty="0">
                <a:solidFill>
                  <a:srgbClr val="000000"/>
                </a:solidFill>
                <a:latin typeface="Arial"/>
              </a:rPr>
              <a:t> EU </a:t>
            </a:r>
            <a:r>
              <a:rPr lang="de-DE" sz="2000" b="1" dirty="0" err="1">
                <a:solidFill>
                  <a:srgbClr val="000000"/>
                </a:solidFill>
                <a:latin typeface="Arial"/>
              </a:rPr>
              <a:t>and</a:t>
            </a:r>
            <a:r>
              <a:rPr lang="de-DE" sz="2000" b="1" dirty="0">
                <a:solidFill>
                  <a:srgbClr val="000000"/>
                </a:solidFill>
                <a:latin typeface="Arial"/>
              </a:rPr>
              <a:t> EEA 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de-DE" sz="2000" dirty="0">
                <a:solidFill>
                  <a:srgbClr val="000000"/>
                </a:solidFill>
                <a:latin typeface="Arial"/>
              </a:rPr>
              <a:t>(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Ministries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2000" dirty="0" err="1">
                <a:solidFill>
                  <a:srgbClr val="000000"/>
                </a:solidFill>
                <a:latin typeface="Arial"/>
              </a:rPr>
              <a:t>or</a:t>
            </a:r>
            <a:r>
              <a:rPr lang="de-DE" sz="2000" dirty="0">
                <a:solidFill>
                  <a:srgbClr val="000000"/>
                </a:solidFill>
                <a:latin typeface="Arial"/>
              </a:rPr>
              <a:t> NRAs)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rgbClr val="000000"/>
              </a:solidFill>
              <a:latin typeface="Arial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i="1" dirty="0">
                <a:solidFill>
                  <a:srgbClr val="0073B9"/>
                </a:solidFill>
                <a:latin typeface="Arial"/>
              </a:rPr>
              <a:t>Best case</a:t>
            </a:r>
            <a:r>
              <a:rPr lang="en-US" sz="2000" dirty="0">
                <a:solidFill>
                  <a:srgbClr val="000000"/>
                </a:solidFill>
                <a:latin typeface="Arial"/>
              </a:rPr>
              <a:t>: approx. </a:t>
            </a:r>
            <a:r>
              <a:rPr lang="en-US" sz="2000" b="1" dirty="0">
                <a:solidFill>
                  <a:srgbClr val="000000"/>
                </a:solidFill>
                <a:latin typeface="Arial"/>
              </a:rPr>
              <a:t>80 national data providers </a:t>
            </a:r>
            <a:r>
              <a:rPr lang="en-US" sz="2000" dirty="0">
                <a:solidFill>
                  <a:srgbClr val="000000"/>
                </a:solidFill>
                <a:latin typeface="Arial"/>
              </a:rPr>
              <a:t>deliver data</a:t>
            </a:r>
          </a:p>
        </p:txBody>
      </p:sp>
      <p:sp>
        <p:nvSpPr>
          <p:cNvPr id="167" name="Textfeld 166"/>
          <p:cNvSpPr txBox="1"/>
          <p:nvPr/>
        </p:nvSpPr>
        <p:spPr>
          <a:xfrm>
            <a:off x="5184502" y="3888798"/>
            <a:ext cx="6696744" cy="10523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000000"/>
                </a:solidFill>
                <a:latin typeface="Arial"/>
              </a:rPr>
              <a:t>Transnational </a:t>
            </a:r>
            <a:r>
              <a:rPr lang="en-US" sz="2000" b="1" dirty="0">
                <a:solidFill>
                  <a:srgbClr val="000000"/>
                </a:solidFill>
                <a:latin typeface="Arial"/>
              </a:rPr>
              <a:t>c</a:t>
            </a:r>
            <a:r>
              <a:rPr lang="de-DE" sz="2000" b="1" dirty="0" err="1">
                <a:solidFill>
                  <a:srgbClr val="000000"/>
                </a:solidFill>
                <a:latin typeface="Arial"/>
              </a:rPr>
              <a:t>rowdsourcing</a:t>
            </a:r>
            <a:r>
              <a:rPr lang="de-DE" sz="2000" b="1" dirty="0">
                <a:solidFill>
                  <a:srgbClr val="000000"/>
                </a:solidFill>
                <a:latin typeface="Arial"/>
              </a:rPr>
              <a:t>, private </a:t>
            </a:r>
            <a:r>
              <a:rPr lang="de-DE" sz="2000" b="1" dirty="0" err="1">
                <a:solidFill>
                  <a:srgbClr val="000000"/>
                </a:solidFill>
                <a:latin typeface="Arial"/>
              </a:rPr>
              <a:t>QoE</a:t>
            </a:r>
            <a:r>
              <a:rPr lang="de-DE" sz="2000" b="1" dirty="0">
                <a:solidFill>
                  <a:srgbClr val="000000"/>
                </a:solidFill>
                <a:latin typeface="Arial"/>
              </a:rPr>
              <a:t> initiatives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000000"/>
              </a:solidFill>
              <a:latin typeface="Arial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en-US" sz="2000" i="1" dirty="0">
                <a:solidFill>
                  <a:srgbClr val="0073B9"/>
                </a:solidFill>
                <a:latin typeface="Arial"/>
              </a:rPr>
              <a:t>Best case</a:t>
            </a:r>
            <a:r>
              <a:rPr lang="en-US" sz="2000" dirty="0">
                <a:solidFill>
                  <a:srgbClr val="000000"/>
                </a:solidFill>
                <a:latin typeface="Arial"/>
              </a:rPr>
              <a:t>: </a:t>
            </a:r>
            <a:r>
              <a:rPr lang="en-US" sz="2000" b="1" dirty="0">
                <a:solidFill>
                  <a:srgbClr val="000000"/>
                </a:solidFill>
                <a:latin typeface="Arial"/>
              </a:rPr>
              <a:t>14 initiatives </a:t>
            </a:r>
            <a:r>
              <a:rPr lang="en-US" sz="2000" dirty="0">
                <a:solidFill>
                  <a:srgbClr val="000000"/>
                </a:solidFill>
                <a:latin typeface="Arial"/>
              </a:rPr>
              <a:t>contribute to the project</a:t>
            </a:r>
          </a:p>
        </p:txBody>
      </p:sp>
      <p:sp>
        <p:nvSpPr>
          <p:cNvPr id="168" name="Textfeld 167"/>
          <p:cNvSpPr txBox="1"/>
          <p:nvPr/>
        </p:nvSpPr>
        <p:spPr>
          <a:xfrm>
            <a:off x="5184502" y="5350423"/>
            <a:ext cx="6119962" cy="4548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de-DE" sz="2000" b="1" dirty="0">
                <a:solidFill>
                  <a:srgbClr val="C00000"/>
                </a:solidFill>
                <a:latin typeface="Arial"/>
              </a:rPr>
              <a:t>Note: </a:t>
            </a:r>
            <a:r>
              <a:rPr lang="de-DE" sz="2000" b="1" dirty="0" err="1">
                <a:solidFill>
                  <a:srgbClr val="C00000"/>
                </a:solidFill>
                <a:latin typeface="Arial"/>
              </a:rPr>
              <a:t>No</a:t>
            </a:r>
            <a:r>
              <a:rPr lang="de-DE" sz="2000" b="1" dirty="0">
                <a:solidFill>
                  <a:srgbClr val="C00000"/>
                </a:solidFill>
                <a:latin typeface="Arial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Arial"/>
              </a:rPr>
              <a:t>data</a:t>
            </a:r>
            <a:r>
              <a:rPr lang="de-DE" sz="2000" b="1" dirty="0">
                <a:solidFill>
                  <a:srgbClr val="C00000"/>
                </a:solidFill>
                <a:latin typeface="Arial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Arial"/>
              </a:rPr>
              <a:t>collection</a:t>
            </a:r>
            <a:r>
              <a:rPr lang="de-DE" sz="2000" b="1" dirty="0">
                <a:solidFill>
                  <a:srgbClr val="C00000"/>
                </a:solidFill>
                <a:latin typeface="Arial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Arial"/>
              </a:rPr>
              <a:t>directly</a:t>
            </a:r>
            <a:r>
              <a:rPr lang="de-DE" sz="2000" b="1" dirty="0">
                <a:solidFill>
                  <a:srgbClr val="C00000"/>
                </a:solidFill>
                <a:latin typeface="Arial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Arial"/>
              </a:rPr>
              <a:t>from</a:t>
            </a:r>
            <a:r>
              <a:rPr lang="de-DE" sz="2000" b="1" dirty="0">
                <a:solidFill>
                  <a:srgbClr val="C00000"/>
                </a:solidFill>
                <a:latin typeface="Arial"/>
              </a:rPr>
              <a:t> Internet Service Providers</a:t>
            </a:r>
          </a:p>
        </p:txBody>
      </p:sp>
    </p:spTree>
    <p:extLst>
      <p:ext uri="{BB962C8B-B14F-4D97-AF65-F5344CB8AC3E}">
        <p14:creationId xmlns:p14="http://schemas.microsoft.com/office/powerpoint/2010/main" val="3658630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0" grpId="0"/>
      <p:bldP spid="221" grpId="0"/>
      <p:bldP spid="3" grpId="0"/>
      <p:bldP spid="167" grpId="0"/>
      <p:bldP spid="16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What is the final result?</a:t>
            </a:r>
            <a:endParaRPr lang="en-US" b="1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966" y="2132856"/>
            <a:ext cx="6912650" cy="3456384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Rechteck 8"/>
          <p:cNvSpPr/>
          <p:nvPr/>
        </p:nvSpPr>
        <p:spPr bwMode="auto">
          <a:xfrm>
            <a:off x="647848" y="1795584"/>
            <a:ext cx="2376414" cy="33727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roadband</a:t>
            </a:r>
            <a:r>
              <a:rPr kumimoji="0" lang="de-DE" sz="18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n Europe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0" name="Gerade Verbindung 9"/>
          <p:cNvCxnSpPr/>
          <p:nvPr/>
        </p:nvCxnSpPr>
        <p:spPr bwMode="auto">
          <a:xfrm flipV="1">
            <a:off x="647848" y="1795584"/>
            <a:ext cx="0" cy="337272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 Verbindung 10"/>
          <p:cNvCxnSpPr/>
          <p:nvPr/>
        </p:nvCxnSpPr>
        <p:spPr bwMode="auto">
          <a:xfrm flipV="1">
            <a:off x="3024262" y="1772816"/>
            <a:ext cx="0" cy="337272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Gerade Verbindung 11"/>
          <p:cNvCxnSpPr/>
          <p:nvPr/>
        </p:nvCxnSpPr>
        <p:spPr bwMode="auto">
          <a:xfrm flipH="1">
            <a:off x="647848" y="1773238"/>
            <a:ext cx="2376414" cy="14574"/>
          </a:xfrm>
          <a:prstGeom prst="line">
            <a:avLst/>
          </a:prstGeom>
          <a:noFill/>
          <a:ln w="12700" cap="flat" cmpd="sng" algn="ctr">
            <a:solidFill>
              <a:schemeClr val="tx1">
                <a:lumMod val="50000"/>
                <a:lumOff val="50000"/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Rechteck 12"/>
          <p:cNvSpPr/>
          <p:nvPr/>
        </p:nvSpPr>
        <p:spPr bwMode="auto">
          <a:xfrm>
            <a:off x="3096270" y="1795584"/>
            <a:ext cx="1368152" cy="33727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800" dirty="0" smtClean="0">
                <a:solidFill>
                  <a:schemeClr val="accent1">
                    <a:lumMod val="50000"/>
                  </a:schemeClr>
                </a:solidFill>
              </a:rPr>
              <a:t>Expert </a:t>
            </a:r>
            <a:r>
              <a:rPr lang="de-DE" sz="1800" dirty="0" err="1" smtClean="0">
                <a:solidFill>
                  <a:schemeClr val="accent1">
                    <a:lumMod val="50000"/>
                  </a:schemeClr>
                </a:solidFill>
              </a:rPr>
              <a:t>access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5112494" y="1795584"/>
            <a:ext cx="1728192" cy="33727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800" smtClean="0">
                <a:solidFill>
                  <a:schemeClr val="accent1">
                    <a:lumMod val="50000"/>
                  </a:schemeClr>
                </a:solidFill>
              </a:rPr>
              <a:t>Data collection</a:t>
            </a: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  <p:pic>
        <p:nvPicPr>
          <p:cNvPr id="17" name="Picture 7" descr="http://web.bba-wms.de/Bba2014/images/navi_deaktiv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840" y="2348881"/>
            <a:ext cx="549397" cy="549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uppieren 17"/>
          <p:cNvGrpSpPr/>
          <p:nvPr/>
        </p:nvGrpSpPr>
        <p:grpSpPr>
          <a:xfrm>
            <a:off x="634514" y="2858193"/>
            <a:ext cx="432048" cy="972000"/>
            <a:chOff x="9360964" y="1700088"/>
            <a:chExt cx="523877" cy="1375794"/>
          </a:xfrm>
        </p:grpSpPr>
        <p:pic>
          <p:nvPicPr>
            <p:cNvPr id="19" name="Picture 9" descr="http://web.bba-wms.de/Bba2014/images/button_1_deaktiv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60966" y="1700088"/>
              <a:ext cx="523875" cy="5048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1" descr="http://web.bba-wms.de/Bba2014/images/button_3_deaktiv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60965" y="2192487"/>
              <a:ext cx="523875" cy="3619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13" descr="http://web.bba-wms.de/Bba2014/images/button_4_deaktiv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60964" y="2542482"/>
              <a:ext cx="523875" cy="533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Abgerundetes Rechteck 21"/>
          <p:cNvSpPr/>
          <p:nvPr/>
        </p:nvSpPr>
        <p:spPr bwMode="auto">
          <a:xfrm>
            <a:off x="4680445" y="2201652"/>
            <a:ext cx="2520280" cy="2955540"/>
          </a:xfrm>
          <a:prstGeom prst="roundRect">
            <a:avLst/>
          </a:prstGeom>
          <a:solidFill>
            <a:srgbClr val="BED4EB">
              <a:alpha val="85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23" name="Gerade Verbindung 22"/>
          <p:cNvCxnSpPr/>
          <p:nvPr/>
        </p:nvCxnSpPr>
        <p:spPr bwMode="auto">
          <a:xfrm>
            <a:off x="4932473" y="2564904"/>
            <a:ext cx="2016224" cy="0"/>
          </a:xfrm>
          <a:prstGeom prst="line">
            <a:avLst/>
          </a:prstGeom>
          <a:noFill/>
          <a:ln w="3175" cap="flat" cmpd="sng" algn="ctr">
            <a:solidFill>
              <a:schemeClr val="bg1"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Textfeld 24"/>
          <p:cNvSpPr txBox="1"/>
          <p:nvPr/>
        </p:nvSpPr>
        <p:spPr>
          <a:xfrm>
            <a:off x="4896469" y="2708920"/>
            <a:ext cx="1872232" cy="1893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b="1" dirty="0" err="1" smtClean="0"/>
              <a:t>Choose</a:t>
            </a:r>
            <a:r>
              <a:rPr lang="de-DE" sz="1200" b="1" dirty="0" smtClean="0"/>
              <a:t> </a:t>
            </a:r>
            <a:r>
              <a:rPr lang="de-DE" sz="1200" b="1" dirty="0" err="1" smtClean="0"/>
              <a:t>layers</a:t>
            </a:r>
            <a:r>
              <a:rPr lang="de-DE" sz="1200" b="1" dirty="0" smtClean="0"/>
              <a:t> </a:t>
            </a:r>
            <a:r>
              <a:rPr lang="de-DE" sz="1200" b="1" dirty="0" err="1" smtClean="0"/>
              <a:t>of</a:t>
            </a:r>
            <a:r>
              <a:rPr lang="de-DE" sz="1200" b="1" dirty="0" smtClean="0"/>
              <a:t> </a:t>
            </a:r>
            <a:r>
              <a:rPr lang="de-DE" sz="1200" b="1" dirty="0" err="1" smtClean="0"/>
              <a:t>data</a:t>
            </a:r>
            <a:r>
              <a:rPr lang="de-DE" sz="1200" b="1" dirty="0" smtClean="0"/>
              <a:t> </a:t>
            </a:r>
            <a:r>
              <a:rPr lang="de-DE" sz="1200" b="1" dirty="0" err="1" smtClean="0"/>
              <a:t>categories</a:t>
            </a:r>
            <a:endParaRPr lang="de-DE" sz="1200" b="1" dirty="0"/>
          </a:p>
        </p:txBody>
      </p:sp>
      <p:sp>
        <p:nvSpPr>
          <p:cNvPr id="28" name="Rechteck 27"/>
          <p:cNvSpPr/>
          <p:nvPr/>
        </p:nvSpPr>
        <p:spPr bwMode="auto">
          <a:xfrm>
            <a:off x="4896469" y="3356992"/>
            <a:ext cx="1008000" cy="21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ownload</a:t>
            </a:r>
          </a:p>
        </p:txBody>
      </p:sp>
      <p:sp>
        <p:nvSpPr>
          <p:cNvPr id="29" name="Rechteck 28"/>
          <p:cNvSpPr/>
          <p:nvPr/>
        </p:nvSpPr>
        <p:spPr bwMode="auto">
          <a:xfrm>
            <a:off x="5976469" y="3356992"/>
            <a:ext cx="1008000" cy="21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ll </a:t>
            </a:r>
            <a:r>
              <a:rPr kumimoji="0" lang="de-DE" sz="1200" b="0" i="1" u="none" strike="noStrike" cap="none" normalizeH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ime</a:t>
            </a:r>
            <a:endParaRPr kumimoji="0" lang="de-DE" sz="1200" b="0" i="1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Rechteck 29"/>
          <p:cNvSpPr/>
          <p:nvPr/>
        </p:nvSpPr>
        <p:spPr bwMode="auto">
          <a:xfrm>
            <a:off x="4896469" y="3645024"/>
            <a:ext cx="1008000" cy="21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SL</a:t>
            </a:r>
          </a:p>
        </p:txBody>
      </p:sp>
      <p:sp>
        <p:nvSpPr>
          <p:cNvPr id="31" name="Rechteck 30"/>
          <p:cNvSpPr/>
          <p:nvPr/>
        </p:nvSpPr>
        <p:spPr bwMode="auto">
          <a:xfrm>
            <a:off x="5976701" y="3645024"/>
            <a:ext cx="1008000" cy="21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≥ 30 Mbit/s</a:t>
            </a:r>
          </a:p>
        </p:txBody>
      </p:sp>
      <p:sp>
        <p:nvSpPr>
          <p:cNvPr id="32" name="Rechteck 31"/>
          <p:cNvSpPr/>
          <p:nvPr/>
        </p:nvSpPr>
        <p:spPr bwMode="auto">
          <a:xfrm>
            <a:off x="5688557" y="3356992"/>
            <a:ext cx="216000" cy="21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</a:t>
            </a:r>
          </a:p>
        </p:txBody>
      </p:sp>
      <p:sp>
        <p:nvSpPr>
          <p:cNvPr id="33" name="Rechteck 32"/>
          <p:cNvSpPr/>
          <p:nvPr/>
        </p:nvSpPr>
        <p:spPr bwMode="auto">
          <a:xfrm>
            <a:off x="5688557" y="3645048"/>
            <a:ext cx="216000" cy="21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</a:t>
            </a:r>
          </a:p>
        </p:txBody>
      </p:sp>
      <p:sp>
        <p:nvSpPr>
          <p:cNvPr id="34" name="Rechteck 33"/>
          <p:cNvSpPr/>
          <p:nvPr/>
        </p:nvSpPr>
        <p:spPr bwMode="auto">
          <a:xfrm>
            <a:off x="6768701" y="3645024"/>
            <a:ext cx="216000" cy="21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</a:t>
            </a:r>
          </a:p>
        </p:txBody>
      </p:sp>
      <p:sp>
        <p:nvSpPr>
          <p:cNvPr id="35" name="Rechteck 34"/>
          <p:cNvSpPr/>
          <p:nvPr/>
        </p:nvSpPr>
        <p:spPr bwMode="auto">
          <a:xfrm>
            <a:off x="6768701" y="3356992"/>
            <a:ext cx="216000" cy="2160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v</a:t>
            </a:r>
          </a:p>
        </p:txBody>
      </p:sp>
      <p:sp>
        <p:nvSpPr>
          <p:cNvPr id="36" name="Ellipse 35"/>
          <p:cNvSpPr/>
          <p:nvPr/>
        </p:nvSpPr>
        <p:spPr bwMode="auto">
          <a:xfrm>
            <a:off x="6753352" y="2732287"/>
            <a:ext cx="144192" cy="135702"/>
          </a:xfrm>
          <a:prstGeom prst="ellipse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endParaRPr kumimoji="0" lang="de-DE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Rechteck 38"/>
          <p:cNvSpPr/>
          <p:nvPr/>
        </p:nvSpPr>
        <p:spPr bwMode="auto">
          <a:xfrm>
            <a:off x="5148589" y="4005088"/>
            <a:ext cx="828000" cy="2160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0 – 10 %</a:t>
            </a:r>
          </a:p>
        </p:txBody>
      </p:sp>
      <p:sp>
        <p:nvSpPr>
          <p:cNvPr id="40" name="Rechteck 39"/>
          <p:cNvSpPr/>
          <p:nvPr/>
        </p:nvSpPr>
        <p:spPr bwMode="auto">
          <a:xfrm>
            <a:off x="5148701" y="4293120"/>
            <a:ext cx="828000" cy="2160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&gt; 10 – 50</a:t>
            </a:r>
            <a:r>
              <a:rPr kumimoji="0" lang="de-DE" sz="1200" b="1" u="none" strike="noStrike" cap="none" normalizeH="0" dirty="0" smtClean="0">
                <a:ln>
                  <a:noFill/>
                </a:ln>
                <a:effectLst/>
                <a:latin typeface="Arial" charset="0"/>
              </a:rPr>
              <a:t> %</a:t>
            </a:r>
            <a:endParaRPr kumimoji="0" lang="de-DE" sz="1200" b="1" u="none" strike="noStrike" cap="none" normalizeH="0" baseline="0" dirty="0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41" name="Rechteck 40"/>
          <p:cNvSpPr/>
          <p:nvPr/>
        </p:nvSpPr>
        <p:spPr bwMode="auto">
          <a:xfrm>
            <a:off x="5148589" y="4581152"/>
            <a:ext cx="828000" cy="2160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&gt; 50 – 75</a:t>
            </a:r>
            <a:r>
              <a:rPr kumimoji="0" lang="de-DE" sz="1200" b="1" u="none" strike="noStrike" cap="none" normalizeH="0" dirty="0" smtClean="0">
                <a:ln>
                  <a:noFill/>
                </a:ln>
                <a:effectLst/>
                <a:latin typeface="Arial" charset="0"/>
              </a:rPr>
              <a:t> %</a:t>
            </a:r>
            <a:endParaRPr kumimoji="0" lang="de-DE" sz="1200" b="1" u="none" strike="noStrike" cap="none" normalizeH="0" baseline="0" dirty="0" smtClean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42" name="Rechteck 41"/>
          <p:cNvSpPr/>
          <p:nvPr/>
        </p:nvSpPr>
        <p:spPr bwMode="auto">
          <a:xfrm>
            <a:off x="6300717" y="4293096"/>
            <a:ext cx="828000" cy="2160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&gt; 95 %</a:t>
            </a:r>
          </a:p>
        </p:txBody>
      </p:sp>
      <p:sp>
        <p:nvSpPr>
          <p:cNvPr id="43" name="Rechteck 42"/>
          <p:cNvSpPr/>
          <p:nvPr/>
        </p:nvSpPr>
        <p:spPr bwMode="auto">
          <a:xfrm>
            <a:off x="6296581" y="4008337"/>
            <a:ext cx="828000" cy="2160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&gt; 75 –</a:t>
            </a:r>
            <a:r>
              <a:rPr kumimoji="0" lang="de-DE" sz="1200" b="1" u="none" strike="noStrike" cap="none" normalizeH="0" dirty="0" smtClean="0">
                <a:ln>
                  <a:noFill/>
                </a:ln>
                <a:effectLst/>
                <a:latin typeface="Arial" charset="0"/>
              </a:rPr>
              <a:t> 95</a:t>
            </a:r>
            <a:r>
              <a:rPr kumimoji="0" lang="de-DE" sz="1200" b="1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 %</a:t>
            </a:r>
          </a:p>
        </p:txBody>
      </p:sp>
      <p:sp>
        <p:nvSpPr>
          <p:cNvPr id="44" name="Rechteck 43"/>
          <p:cNvSpPr/>
          <p:nvPr/>
        </p:nvSpPr>
        <p:spPr bwMode="auto">
          <a:xfrm>
            <a:off x="4896469" y="4005064"/>
            <a:ext cx="216000" cy="216000"/>
          </a:xfrm>
          <a:prstGeom prst="rect">
            <a:avLst/>
          </a:prstGeom>
          <a:solidFill>
            <a:srgbClr val="0D1079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Rechteck 44"/>
          <p:cNvSpPr/>
          <p:nvPr/>
        </p:nvSpPr>
        <p:spPr bwMode="auto">
          <a:xfrm>
            <a:off x="4896469" y="4293120"/>
            <a:ext cx="216000" cy="216000"/>
          </a:xfrm>
          <a:prstGeom prst="rect">
            <a:avLst/>
          </a:prstGeom>
          <a:solidFill>
            <a:srgbClr val="216D9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6" name="Rechteck 45"/>
          <p:cNvSpPr/>
          <p:nvPr/>
        </p:nvSpPr>
        <p:spPr bwMode="auto">
          <a:xfrm>
            <a:off x="4896469" y="4581128"/>
            <a:ext cx="216000" cy="216000"/>
          </a:xfrm>
          <a:prstGeom prst="rect">
            <a:avLst/>
          </a:prstGeom>
          <a:solidFill>
            <a:srgbClr val="3DB868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Rechteck 46"/>
          <p:cNvSpPr/>
          <p:nvPr/>
        </p:nvSpPr>
        <p:spPr bwMode="auto">
          <a:xfrm>
            <a:off x="6048621" y="4005064"/>
            <a:ext cx="216000" cy="216000"/>
          </a:xfrm>
          <a:prstGeom prst="rect">
            <a:avLst/>
          </a:prstGeom>
          <a:solidFill>
            <a:srgbClr val="84F03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Rechteck 47"/>
          <p:cNvSpPr/>
          <p:nvPr/>
        </p:nvSpPr>
        <p:spPr bwMode="auto">
          <a:xfrm>
            <a:off x="6048621" y="4293120"/>
            <a:ext cx="216000" cy="216000"/>
          </a:xfrm>
          <a:prstGeom prst="rect">
            <a:avLst/>
          </a:prstGeom>
          <a:solidFill>
            <a:srgbClr val="FCFC99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7416750" y="1196752"/>
            <a:ext cx="4752455" cy="489041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e-DE" sz="1700" b="1" dirty="0" smtClean="0"/>
              <a:t>Public </a:t>
            </a:r>
            <a:r>
              <a:rPr lang="de-DE" sz="1700" b="1" dirty="0" err="1" smtClean="0"/>
              <a:t>access</a:t>
            </a:r>
            <a:endParaRPr lang="de-DE" sz="1700" b="1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700" dirty="0" smtClean="0"/>
              <a:t>Visualized data at NUTS3-level (small regions)</a:t>
            </a:r>
            <a:endParaRPr lang="en-US" sz="17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sz="1700" dirty="0" smtClean="0"/>
              <a:t>Pop-ups </a:t>
            </a:r>
            <a:r>
              <a:rPr lang="de-DE" sz="1700" dirty="0" err="1" smtClean="0"/>
              <a:t>for</a:t>
            </a:r>
            <a:r>
              <a:rPr lang="de-DE" sz="1700" dirty="0" smtClean="0"/>
              <a:t> meta-information on </a:t>
            </a:r>
            <a:r>
              <a:rPr lang="de-DE" sz="1700" dirty="0" err="1" smtClean="0"/>
              <a:t>datasets</a:t>
            </a:r>
            <a:endParaRPr lang="de-DE" sz="17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700" dirty="0" smtClean="0"/>
              <a:t>Link to socio-demographic data from Eurostat (EU statistical office)</a:t>
            </a:r>
            <a:endParaRPr lang="en-US" sz="1700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de-DE" sz="1700" dirty="0" smtClean="0"/>
          </a:p>
          <a:p>
            <a:r>
              <a:rPr lang="de-DE" sz="1700" b="1" dirty="0" smtClean="0"/>
              <a:t>Expert </a:t>
            </a:r>
            <a:r>
              <a:rPr lang="de-DE" sz="1700" b="1" dirty="0" err="1" smtClean="0"/>
              <a:t>access</a:t>
            </a:r>
            <a:r>
              <a:rPr lang="de-DE" sz="1700" b="1" dirty="0" smtClean="0"/>
              <a:t> </a:t>
            </a:r>
            <a:r>
              <a:rPr lang="de-DE" sz="1700" dirty="0" smtClean="0"/>
              <a:t>(</a:t>
            </a:r>
            <a:r>
              <a:rPr lang="de-DE" sz="1700" dirty="0" err="1" smtClean="0"/>
              <a:t>restricted</a:t>
            </a:r>
            <a:r>
              <a:rPr lang="de-DE" sz="1700" dirty="0" smtClean="0"/>
              <a:t> </a:t>
            </a:r>
            <a:r>
              <a:rPr lang="de-DE" sz="1700" dirty="0" err="1" smtClean="0"/>
              <a:t>group</a:t>
            </a:r>
            <a:r>
              <a:rPr lang="de-DE" sz="1700" dirty="0" smtClean="0"/>
              <a:t>)</a:t>
            </a:r>
            <a:endParaRPr lang="de-DE" sz="1700" b="1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700" dirty="0" smtClean="0"/>
              <a:t>Display different </a:t>
            </a:r>
            <a:r>
              <a:rPr lang="en-US" sz="1700" dirty="0"/>
              <a:t>layers to benchmark data categori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700" dirty="0"/>
              <a:t>H</a:t>
            </a:r>
            <a:r>
              <a:rPr lang="en-US" sz="1700" dirty="0" smtClean="0"/>
              <a:t>igher granularity than NUTS3-level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700" dirty="0" smtClean="0"/>
              <a:t>Output </a:t>
            </a:r>
            <a:r>
              <a:rPr lang="en-US" sz="1700" dirty="0"/>
              <a:t>of </a:t>
            </a:r>
            <a:r>
              <a:rPr lang="en-US" sz="1700" dirty="0" smtClean="0"/>
              <a:t>maps &amp; reports, dynamic diagrams &amp; tables with link to national GIS system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de-DE" sz="1700" dirty="0" smtClean="0"/>
          </a:p>
          <a:p>
            <a:r>
              <a:rPr lang="de-DE" sz="1700" b="1" dirty="0" smtClean="0"/>
              <a:t>Data </a:t>
            </a:r>
            <a:r>
              <a:rPr lang="de-DE" sz="1700" b="1" dirty="0" err="1" smtClean="0"/>
              <a:t>collection</a:t>
            </a:r>
            <a:endParaRPr lang="de-DE" sz="1700" b="1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sz="1700" dirty="0"/>
              <a:t>Secure </a:t>
            </a:r>
            <a:r>
              <a:rPr lang="de-DE" sz="1700" dirty="0" err="1"/>
              <a:t>and</a:t>
            </a:r>
            <a:r>
              <a:rPr lang="de-DE" sz="1700" dirty="0"/>
              <a:t> </a:t>
            </a:r>
            <a:r>
              <a:rPr lang="de-DE" sz="1700" dirty="0" smtClean="0"/>
              <a:t>user-</a:t>
            </a:r>
            <a:r>
              <a:rPr lang="de-DE" sz="1700" dirty="0" err="1" smtClean="0"/>
              <a:t>friendly</a:t>
            </a:r>
            <a:r>
              <a:rPr lang="de-DE" sz="1700" dirty="0" smtClean="0"/>
              <a:t> </a:t>
            </a:r>
            <a:r>
              <a:rPr lang="de-DE" sz="1700" dirty="0" err="1"/>
              <a:t>upload</a:t>
            </a:r>
            <a:r>
              <a:rPr lang="de-DE" sz="1700" dirty="0"/>
              <a:t> via web-</a:t>
            </a:r>
            <a:r>
              <a:rPr lang="de-DE" sz="1700" dirty="0" err="1"/>
              <a:t>frontends</a:t>
            </a:r>
            <a:endParaRPr lang="de-DE" sz="17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sz="1700" dirty="0" smtClean="0"/>
              <a:t>Download </a:t>
            </a:r>
            <a:r>
              <a:rPr lang="de-DE" sz="1700" dirty="0" err="1"/>
              <a:t>of</a:t>
            </a:r>
            <a:r>
              <a:rPr lang="de-DE" sz="1700" dirty="0"/>
              <a:t> </a:t>
            </a:r>
            <a:r>
              <a:rPr lang="de-DE" sz="1700" dirty="0" err="1"/>
              <a:t>templates</a:t>
            </a:r>
            <a:endParaRPr lang="de-DE" sz="17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e-DE" sz="1700" dirty="0" smtClean="0"/>
              <a:t>Briefing material, </a:t>
            </a:r>
            <a:r>
              <a:rPr lang="de-DE" sz="1700" dirty="0" err="1" smtClean="0"/>
              <a:t>technical</a:t>
            </a:r>
            <a:r>
              <a:rPr lang="de-DE" sz="1700" dirty="0" smtClean="0"/>
              <a:t> </a:t>
            </a:r>
            <a:r>
              <a:rPr lang="de-DE" sz="1700" dirty="0" err="1" smtClean="0"/>
              <a:t>guidelines</a:t>
            </a:r>
            <a:endParaRPr lang="de-DE" sz="1700" dirty="0"/>
          </a:p>
        </p:txBody>
      </p:sp>
      <p:sp>
        <p:nvSpPr>
          <p:cNvPr id="50" name="Abgerundetes Rechteck 49"/>
          <p:cNvSpPr/>
          <p:nvPr/>
        </p:nvSpPr>
        <p:spPr bwMode="auto">
          <a:xfrm>
            <a:off x="1198288" y="2420888"/>
            <a:ext cx="1800201" cy="252029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1" name="Abgerundetes Rechteck 50"/>
          <p:cNvSpPr/>
          <p:nvPr/>
        </p:nvSpPr>
        <p:spPr bwMode="auto">
          <a:xfrm>
            <a:off x="2530489" y="2420888"/>
            <a:ext cx="468000" cy="25202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100" b="1" i="0" u="none" strike="noStrike" cap="none" normalizeH="0" baseline="0" dirty="0" smtClean="0">
                <a:ln>
                  <a:noFill/>
                </a:ln>
                <a:effectLst/>
                <a:latin typeface="Arial" charset="0"/>
              </a:rPr>
              <a:t>Find</a:t>
            </a:r>
          </a:p>
        </p:txBody>
      </p:sp>
      <p:sp>
        <p:nvSpPr>
          <p:cNvPr id="52" name="Rectangle 2"/>
          <p:cNvSpPr txBox="1">
            <a:spLocks noChangeArrowheads="1"/>
          </p:cNvSpPr>
          <p:nvPr/>
        </p:nvSpPr>
        <p:spPr>
          <a:xfrm>
            <a:off x="224002" y="627536"/>
            <a:ext cx="8568951" cy="647353"/>
          </a:xfrm>
          <a:prstGeom prst="rect">
            <a:avLst/>
          </a:prstGeom>
        </p:spPr>
        <p:txBody>
          <a:bodyPr/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algn="ctr"/>
            <a:endParaRPr lang="en-GB" sz="2000" kern="0" dirty="0"/>
          </a:p>
        </p:txBody>
      </p:sp>
      <p:sp>
        <p:nvSpPr>
          <p:cNvPr id="54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306030" y="6345238"/>
            <a:ext cx="918091" cy="323850"/>
          </a:xfrm>
        </p:spPr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3589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What</a:t>
            </a:r>
            <a:r>
              <a:rPr lang="de-DE" b="1" dirty="0" smtClean="0"/>
              <a:t> </a:t>
            </a:r>
            <a:r>
              <a:rPr lang="de-DE" b="1" dirty="0" err="1" smtClean="0"/>
              <a:t>are</a:t>
            </a:r>
            <a:r>
              <a:rPr lang="de-DE" b="1" dirty="0" smtClean="0"/>
              <a:t> the </a:t>
            </a:r>
            <a:r>
              <a:rPr lang="de-DE" b="1" dirty="0" err="1" smtClean="0"/>
              <a:t>benefits</a:t>
            </a:r>
            <a:r>
              <a:rPr lang="de-DE" b="1" dirty="0" smtClean="0"/>
              <a:t>?</a:t>
            </a:r>
            <a:endParaRPr lang="de-DE" b="1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graphicFrame>
        <p:nvGraphicFramePr>
          <p:cNvPr id="27" name="Diagramm 26"/>
          <p:cNvGraphicFramePr/>
          <p:nvPr>
            <p:extLst>
              <p:ext uri="{D42A27DB-BD31-4B8C-83A1-F6EECF244321}">
                <p14:modId xmlns:p14="http://schemas.microsoft.com/office/powerpoint/2010/main" val="1849945692"/>
              </p:ext>
            </p:extLst>
          </p:nvPr>
        </p:nvGraphicFramePr>
        <p:xfrm>
          <a:off x="3024262" y="1052736"/>
          <a:ext cx="6312652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8" name="Textfeld 27"/>
          <p:cNvSpPr txBox="1"/>
          <p:nvPr/>
        </p:nvSpPr>
        <p:spPr>
          <a:xfrm>
            <a:off x="7556729" y="1124744"/>
            <a:ext cx="4468533" cy="10083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180975" lvl="0" indent="-180975">
              <a:spcBef>
                <a:spcPts val="600"/>
              </a:spcBef>
              <a:spcAft>
                <a:spcPts val="600"/>
              </a:spcAft>
              <a:buClr>
                <a:schemeClr val="accent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1800" dirty="0" smtClean="0"/>
              <a:t>European-</a:t>
            </a:r>
            <a:r>
              <a:rPr lang="de-DE" sz="1800" dirty="0" err="1" smtClean="0"/>
              <a:t>wide</a:t>
            </a:r>
            <a:r>
              <a:rPr lang="de-DE" sz="1800" dirty="0" smtClean="0"/>
              <a:t> </a:t>
            </a:r>
            <a:r>
              <a:rPr lang="de-DE" sz="1800" dirty="0" err="1" smtClean="0"/>
              <a:t>broadband</a:t>
            </a:r>
            <a:r>
              <a:rPr lang="de-DE" sz="1800" dirty="0" smtClean="0"/>
              <a:t> </a:t>
            </a:r>
            <a:r>
              <a:rPr lang="de-DE" sz="1800" dirty="0" err="1" smtClean="0"/>
              <a:t>service</a:t>
            </a:r>
            <a:r>
              <a:rPr lang="de-DE" sz="1800" dirty="0" smtClean="0"/>
              <a:t> </a:t>
            </a:r>
            <a:r>
              <a:rPr lang="de-DE" sz="1800" dirty="0" err="1" smtClean="0"/>
              <a:t>mapping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in </a:t>
            </a:r>
            <a:r>
              <a:rPr lang="de-DE" sz="1800" dirty="0" err="1" smtClean="0"/>
              <a:t>one</a:t>
            </a:r>
            <a:r>
              <a:rPr lang="de-DE" sz="1800" dirty="0" smtClean="0"/>
              <a:t> </a:t>
            </a:r>
            <a:r>
              <a:rPr lang="de-DE" sz="1800" dirty="0" err="1" smtClean="0"/>
              <a:t>platform</a:t>
            </a:r>
            <a:endParaRPr lang="de-DE" sz="1800" dirty="0" smtClean="0"/>
          </a:p>
          <a:p>
            <a:pPr marL="180975" lvl="0" indent="-180975">
              <a:spcBef>
                <a:spcPts val="600"/>
              </a:spcBef>
              <a:spcAft>
                <a:spcPts val="600"/>
              </a:spcAft>
              <a:buClr>
                <a:schemeClr val="accent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1800" dirty="0" err="1" smtClean="0">
                <a:latin typeface="Arial"/>
              </a:rPr>
              <a:t>Complementary</a:t>
            </a:r>
            <a:r>
              <a:rPr lang="de-DE" sz="1800" dirty="0" smtClean="0">
                <a:latin typeface="Arial"/>
              </a:rPr>
              <a:t> </a:t>
            </a:r>
            <a:r>
              <a:rPr lang="de-DE" sz="1800" dirty="0" err="1">
                <a:latin typeface="Arial"/>
              </a:rPr>
              <a:t>monitoring</a:t>
            </a:r>
            <a:r>
              <a:rPr lang="de-DE" sz="1800" dirty="0">
                <a:latin typeface="Arial"/>
              </a:rPr>
              <a:t> </a:t>
            </a:r>
            <a:r>
              <a:rPr lang="de-DE" sz="1800" dirty="0" err="1">
                <a:latin typeface="Arial"/>
              </a:rPr>
              <a:t>tool</a:t>
            </a:r>
            <a:endParaRPr lang="de-DE" sz="1800" dirty="0" smtClean="0"/>
          </a:p>
          <a:p>
            <a:pPr marL="180975" lvl="0" indent="-180975">
              <a:spcBef>
                <a:spcPts val="600"/>
              </a:spcBef>
              <a:spcAft>
                <a:spcPts val="600"/>
              </a:spcAft>
              <a:buClr>
                <a:schemeClr val="accent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1800" dirty="0" smtClean="0"/>
              <a:t>Access to </a:t>
            </a:r>
            <a:r>
              <a:rPr lang="de-DE" sz="1800" dirty="0" err="1" smtClean="0"/>
              <a:t>data</a:t>
            </a:r>
            <a:r>
              <a:rPr lang="de-DE" sz="1800" dirty="0" smtClean="0"/>
              <a:t> </a:t>
            </a:r>
            <a:r>
              <a:rPr lang="de-DE" sz="1800" dirty="0" err="1" smtClean="0"/>
              <a:t>sets</a:t>
            </a:r>
            <a:r>
              <a:rPr lang="de-DE" sz="1800" dirty="0" smtClean="0"/>
              <a:t> </a:t>
            </a:r>
            <a:r>
              <a:rPr lang="de-DE" sz="1800" dirty="0" err="1" smtClean="0"/>
              <a:t>from</a:t>
            </a:r>
            <a:r>
              <a:rPr lang="de-DE" sz="1800" dirty="0" smtClean="0"/>
              <a:t> </a:t>
            </a:r>
            <a:r>
              <a:rPr lang="de-DE" sz="1800" dirty="0" err="1" smtClean="0"/>
              <a:t>other</a:t>
            </a:r>
            <a:r>
              <a:rPr lang="de-DE" sz="1800" dirty="0" smtClean="0"/>
              <a:t> initiatives </a:t>
            </a:r>
          </a:p>
          <a:p>
            <a:endParaRPr lang="de-DE" sz="1800" dirty="0"/>
          </a:p>
        </p:txBody>
      </p:sp>
      <p:sp>
        <p:nvSpPr>
          <p:cNvPr id="29" name="Textfeld 28"/>
          <p:cNvSpPr txBox="1"/>
          <p:nvPr/>
        </p:nvSpPr>
        <p:spPr>
          <a:xfrm>
            <a:off x="7487188" y="4437112"/>
            <a:ext cx="4394058" cy="1152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180975" lvl="0" indent="-180975">
              <a:buClr>
                <a:schemeClr val="accent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1800" dirty="0"/>
              <a:t>Higher </a:t>
            </a:r>
            <a:r>
              <a:rPr lang="de-DE" sz="1800" dirty="0" err="1"/>
              <a:t>visibility</a:t>
            </a:r>
            <a:r>
              <a:rPr lang="de-DE" sz="1800" dirty="0"/>
              <a:t> outside </a:t>
            </a:r>
            <a:r>
              <a:rPr lang="de-DE" sz="1800" dirty="0" err="1"/>
              <a:t>peer</a:t>
            </a:r>
            <a:r>
              <a:rPr lang="de-DE" sz="1800" dirty="0"/>
              <a:t> </a:t>
            </a:r>
            <a:r>
              <a:rPr lang="de-DE" sz="1800" dirty="0" err="1"/>
              <a:t>groups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</a:t>
            </a:r>
            <a:r>
              <a:rPr lang="de-DE" sz="1800" dirty="0" err="1"/>
              <a:t>cross-linking</a:t>
            </a:r>
            <a:r>
              <a:rPr lang="de-DE" sz="1800" dirty="0"/>
              <a:t> initiatives </a:t>
            </a:r>
          </a:p>
          <a:p>
            <a:pPr marL="180975" indent="-180975">
              <a:buClr>
                <a:schemeClr val="accent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1800" dirty="0" err="1" smtClean="0"/>
              <a:t>Increase</a:t>
            </a:r>
            <a:r>
              <a:rPr lang="de-DE" sz="1800" dirty="0" smtClean="0"/>
              <a:t> </a:t>
            </a:r>
            <a:r>
              <a:rPr lang="de-DE" sz="1800" dirty="0" err="1"/>
              <a:t>awareness</a:t>
            </a:r>
            <a:r>
              <a:rPr lang="de-DE" sz="1800" dirty="0"/>
              <a:t> </a:t>
            </a:r>
            <a:r>
              <a:rPr lang="de-DE" sz="1800" dirty="0" smtClean="0"/>
              <a:t>on </a:t>
            </a:r>
            <a:r>
              <a:rPr lang="de-DE" sz="1800" dirty="0" err="1" smtClean="0"/>
              <a:t>multifaceted</a:t>
            </a:r>
            <a:r>
              <a:rPr lang="de-DE" sz="1800" dirty="0" smtClean="0"/>
              <a:t> initiatives at national </a:t>
            </a:r>
            <a:r>
              <a:rPr lang="de-DE" sz="1800" dirty="0" err="1" smtClean="0"/>
              <a:t>and</a:t>
            </a:r>
            <a:r>
              <a:rPr lang="de-DE" sz="1800" dirty="0" smtClean="0"/>
              <a:t> transnational </a:t>
            </a:r>
            <a:r>
              <a:rPr lang="de-DE" sz="1800" dirty="0" err="1" smtClean="0"/>
              <a:t>level</a:t>
            </a:r>
            <a:endParaRPr lang="de-DE" sz="1800" dirty="0"/>
          </a:p>
        </p:txBody>
      </p:sp>
      <p:sp>
        <p:nvSpPr>
          <p:cNvPr id="30" name="Textfeld 29"/>
          <p:cNvSpPr txBox="1"/>
          <p:nvPr/>
        </p:nvSpPr>
        <p:spPr>
          <a:xfrm>
            <a:off x="575990" y="2924944"/>
            <a:ext cx="4464496" cy="12241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975" lvl="0" indent="-180975">
              <a:spcBef>
                <a:spcPts val="600"/>
              </a:spcBef>
              <a:spcAft>
                <a:spcPts val="600"/>
              </a:spcAft>
              <a:buClr>
                <a:schemeClr val="accent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1800" dirty="0" smtClean="0"/>
              <a:t>Access to European </a:t>
            </a:r>
            <a:r>
              <a:rPr lang="de-DE" sz="1800" dirty="0" err="1" smtClean="0"/>
              <a:t>mapping</a:t>
            </a:r>
            <a:r>
              <a:rPr lang="de-DE" sz="1800" dirty="0" smtClean="0"/>
              <a:t> </a:t>
            </a:r>
            <a:r>
              <a:rPr lang="de-DE" sz="1800" dirty="0" err="1" smtClean="0"/>
              <a:t>community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more</a:t>
            </a:r>
            <a:r>
              <a:rPr lang="de-DE" sz="1800" dirty="0" smtClean="0"/>
              <a:t> </a:t>
            </a:r>
            <a:r>
              <a:rPr lang="de-DE" sz="1800" dirty="0" err="1" smtClean="0"/>
              <a:t>than</a:t>
            </a:r>
            <a:r>
              <a:rPr lang="de-DE" sz="1800" dirty="0" smtClean="0"/>
              <a:t> 100 </a:t>
            </a:r>
            <a:r>
              <a:rPr lang="de-DE" sz="1800" dirty="0" err="1" smtClean="0"/>
              <a:t>stakeholders</a:t>
            </a:r>
            <a:r>
              <a:rPr lang="de-DE" sz="1800" dirty="0" smtClean="0"/>
              <a:t> </a:t>
            </a:r>
          </a:p>
          <a:p>
            <a:pPr marL="180975" lvl="0" indent="-180975">
              <a:spcBef>
                <a:spcPts val="600"/>
              </a:spcBef>
              <a:spcAft>
                <a:spcPts val="600"/>
              </a:spcAft>
              <a:buClr>
                <a:schemeClr val="accent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de-DE" sz="1800" dirty="0" smtClean="0"/>
              <a:t>Expansion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network</a:t>
            </a:r>
            <a:r>
              <a:rPr lang="de-DE" sz="1800" dirty="0" smtClean="0"/>
              <a:t> to </a:t>
            </a:r>
            <a:r>
              <a:rPr lang="de-DE" sz="1800" dirty="0" err="1" smtClean="0"/>
              <a:t>public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private initiatives</a:t>
            </a:r>
          </a:p>
        </p:txBody>
      </p:sp>
    </p:spTree>
    <p:extLst>
      <p:ext uri="{BB962C8B-B14F-4D97-AF65-F5344CB8AC3E}">
        <p14:creationId xmlns:p14="http://schemas.microsoft.com/office/powerpoint/2010/main" val="3498716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7" grpId="0">
        <p:bldAsOne/>
      </p:bldGraphic>
      <p:bldP spid="28" grpId="0" animBg="1"/>
      <p:bldP spid="29" grpId="0" animBg="1"/>
      <p:bldP spid="3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What</a:t>
            </a:r>
            <a:r>
              <a:rPr lang="de-DE" b="1" dirty="0" smtClean="0"/>
              <a:t> </a:t>
            </a:r>
            <a:r>
              <a:rPr lang="de-DE" b="1" dirty="0" err="1" smtClean="0"/>
              <a:t>is</a:t>
            </a:r>
            <a:r>
              <a:rPr lang="de-DE" b="1" dirty="0" smtClean="0"/>
              <a:t> </a:t>
            </a:r>
            <a:r>
              <a:rPr lang="de-DE" b="1" dirty="0" err="1" smtClean="0"/>
              <a:t>our</a:t>
            </a:r>
            <a:r>
              <a:rPr lang="de-DE" b="1" dirty="0" smtClean="0"/>
              <a:t> </a:t>
            </a:r>
            <a:r>
              <a:rPr lang="de-DE" b="1" dirty="0" err="1" smtClean="0"/>
              <a:t>approach</a:t>
            </a:r>
            <a:r>
              <a:rPr lang="de-DE" b="1" dirty="0" smtClean="0"/>
              <a:t>?</a:t>
            </a:r>
            <a:endParaRPr lang="en-US" b="1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sp>
        <p:nvSpPr>
          <p:cNvPr id="14" name="AutoShape 11"/>
          <p:cNvSpPr>
            <a:spLocks noChangeArrowheads="1"/>
          </p:cNvSpPr>
          <p:nvPr/>
        </p:nvSpPr>
        <p:spPr bwMode="auto">
          <a:xfrm>
            <a:off x="4469393" y="2700098"/>
            <a:ext cx="3091016" cy="1456410"/>
          </a:xfrm>
          <a:prstGeom prst="hexagon">
            <a:avLst>
              <a:gd name="adj" fmla="val 43556"/>
              <a:gd name="vf" fmla="val 115470"/>
            </a:avLst>
          </a:prstGeom>
          <a:solidFill>
            <a:srgbClr val="216D9E"/>
          </a:solidFill>
          <a:ln>
            <a:noFill/>
          </a:ln>
          <a:extLst/>
        </p:spPr>
        <p:txBody>
          <a:bodyPr lIns="54000" tIns="54000" rIns="54000" bIns="54000" anchor="ctr"/>
          <a:lstStyle/>
          <a:p>
            <a:pPr marL="182563" indent="-182563" algn="ctr" defTabSz="330200">
              <a:spcBef>
                <a:spcPct val="40000"/>
              </a:spcBef>
              <a:buClr>
                <a:schemeClr val="folHlink"/>
              </a:buClr>
              <a:tabLst>
                <a:tab pos="8521700" algn="r"/>
              </a:tabLst>
            </a:pPr>
            <a:r>
              <a:rPr lang="en-US" sz="1800" b="1" dirty="0" smtClean="0">
                <a:solidFill>
                  <a:schemeClr val="bg1"/>
                </a:solidFill>
                <a:latin typeface="Arial"/>
              </a:rPr>
              <a:t>Data collection:</a:t>
            </a:r>
            <a:endParaRPr lang="en-US" sz="1800" b="1" dirty="0">
              <a:solidFill>
                <a:schemeClr val="bg1"/>
              </a:solidFill>
              <a:latin typeface="Arial"/>
            </a:endParaRPr>
          </a:p>
          <a:p>
            <a:pPr marL="182563" indent="-182563" algn="ctr" defTabSz="330200">
              <a:spcBef>
                <a:spcPct val="40000"/>
              </a:spcBef>
              <a:buClr>
                <a:schemeClr val="folHlink"/>
              </a:buClr>
              <a:tabLst>
                <a:tab pos="8521700" algn="r"/>
              </a:tabLst>
            </a:pPr>
            <a:r>
              <a:rPr lang="en-US" sz="1800" b="1" dirty="0" smtClean="0">
                <a:solidFill>
                  <a:schemeClr val="bg1"/>
                </a:solidFill>
                <a:latin typeface="Arial"/>
              </a:rPr>
              <a:t>user-friendly and</a:t>
            </a:r>
            <a:br>
              <a:rPr lang="en-US" sz="1800" b="1" dirty="0" smtClean="0">
                <a:solidFill>
                  <a:schemeClr val="bg1"/>
                </a:solidFill>
                <a:latin typeface="Arial"/>
              </a:rPr>
            </a:br>
            <a:r>
              <a:rPr lang="en-US" sz="1800" b="1" dirty="0" smtClean="0">
                <a:solidFill>
                  <a:schemeClr val="bg1"/>
                </a:solidFill>
                <a:latin typeface="Arial"/>
              </a:rPr>
              <a:t>low effort</a:t>
            </a:r>
            <a:endParaRPr lang="en-US" sz="18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5" name="AutoShape 12"/>
          <p:cNvSpPr>
            <a:spLocks noChangeArrowheads="1"/>
          </p:cNvSpPr>
          <p:nvPr/>
        </p:nvSpPr>
        <p:spPr bwMode="auto">
          <a:xfrm>
            <a:off x="4469393" y="1052736"/>
            <a:ext cx="3091016" cy="1454793"/>
          </a:xfrm>
          <a:prstGeom prst="hexagon">
            <a:avLst>
              <a:gd name="adj" fmla="val 43604"/>
              <a:gd name="vf" fmla="val 115470"/>
            </a:avLst>
          </a:prstGeom>
          <a:solidFill>
            <a:schemeClr val="bg1">
              <a:lumMod val="85000"/>
            </a:schemeClr>
          </a:solidFill>
          <a:ln w="6350" algn="ctr">
            <a:solidFill>
              <a:srgbClr val="D7E1F5"/>
            </a:solidFill>
            <a:miter lim="800000"/>
            <a:headEnd/>
            <a:tailEnd/>
          </a:ln>
          <a:extLst/>
        </p:spPr>
        <p:txBody>
          <a:bodyPr lIns="54000" tIns="54000" rIns="54000" bIns="54000" anchor="ctr"/>
          <a:lstStyle/>
          <a:p>
            <a:pPr algn="ctr" defTabSz="330200">
              <a:spcBef>
                <a:spcPct val="40000"/>
              </a:spcBef>
              <a:buClr>
                <a:schemeClr val="folHlink"/>
              </a:buClr>
              <a:tabLst>
                <a:tab pos="8521700" algn="r"/>
              </a:tabLst>
            </a:pPr>
            <a:endParaRPr lang="en-US" sz="1800" dirty="0">
              <a:latin typeface="Arial"/>
            </a:endParaRPr>
          </a:p>
        </p:txBody>
      </p:sp>
      <p:sp>
        <p:nvSpPr>
          <p:cNvPr id="16" name="AutoShape 13"/>
          <p:cNvSpPr>
            <a:spLocks noChangeArrowheads="1"/>
          </p:cNvSpPr>
          <p:nvPr/>
        </p:nvSpPr>
        <p:spPr bwMode="auto">
          <a:xfrm>
            <a:off x="4469393" y="4349078"/>
            <a:ext cx="3091016" cy="1456410"/>
          </a:xfrm>
          <a:prstGeom prst="hexagon">
            <a:avLst>
              <a:gd name="adj" fmla="val 43556"/>
              <a:gd name="vf" fmla="val 115470"/>
            </a:avLst>
          </a:prstGeom>
          <a:solidFill>
            <a:schemeClr val="bg1">
              <a:lumMod val="85000"/>
            </a:schemeClr>
          </a:solidFill>
          <a:ln w="6350" algn="ctr">
            <a:solidFill>
              <a:srgbClr val="D7E1F5"/>
            </a:solidFill>
            <a:miter lim="800000"/>
            <a:headEnd/>
            <a:tailEnd/>
          </a:ln>
          <a:extLst/>
        </p:spPr>
        <p:txBody>
          <a:bodyPr lIns="54000" tIns="54000" rIns="54000" bIns="5400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sp>
        <p:nvSpPr>
          <p:cNvPr id="17" name="AutoShape 15"/>
          <p:cNvSpPr>
            <a:spLocks noChangeArrowheads="1"/>
          </p:cNvSpPr>
          <p:nvPr/>
        </p:nvSpPr>
        <p:spPr bwMode="auto">
          <a:xfrm>
            <a:off x="1944142" y="1884508"/>
            <a:ext cx="3091016" cy="1454793"/>
          </a:xfrm>
          <a:prstGeom prst="hexagon">
            <a:avLst>
              <a:gd name="adj" fmla="val 43604"/>
              <a:gd name="vf" fmla="val 115470"/>
            </a:avLst>
          </a:prstGeom>
          <a:solidFill>
            <a:schemeClr val="bg1">
              <a:lumMod val="85000"/>
            </a:schemeClr>
          </a:solidFill>
          <a:ln w="6350" algn="ctr">
            <a:solidFill>
              <a:srgbClr val="D7E1F5"/>
            </a:solidFill>
            <a:miter lim="800000"/>
            <a:headEnd/>
            <a:tailEnd/>
          </a:ln>
          <a:extLst/>
        </p:spPr>
        <p:txBody>
          <a:bodyPr lIns="54000" tIns="54000" rIns="54000" bIns="54000" anchor="ctr"/>
          <a:lstStyle/>
          <a:p>
            <a:pPr marL="182563" lvl="1" indent="-182563" algn="ctr" defTabSz="330200">
              <a:spcBef>
                <a:spcPct val="40000"/>
              </a:spcBef>
              <a:buClr>
                <a:schemeClr val="folHlink"/>
              </a:buClr>
              <a:tabLst>
                <a:tab pos="8521700" algn="r"/>
              </a:tabLst>
            </a:pPr>
            <a:endParaRPr lang="en-US" sz="1800" dirty="0">
              <a:latin typeface="Arial"/>
            </a:endParaRPr>
          </a:p>
        </p:txBody>
      </p:sp>
      <p:sp>
        <p:nvSpPr>
          <p:cNvPr id="18" name="AutoShape 16"/>
          <p:cNvSpPr>
            <a:spLocks noChangeArrowheads="1"/>
          </p:cNvSpPr>
          <p:nvPr/>
        </p:nvSpPr>
        <p:spPr bwMode="auto">
          <a:xfrm>
            <a:off x="6990700" y="3533488"/>
            <a:ext cx="3091016" cy="1456410"/>
          </a:xfrm>
          <a:prstGeom prst="hexagon">
            <a:avLst>
              <a:gd name="adj" fmla="val 43556"/>
              <a:gd name="vf" fmla="val 115470"/>
            </a:avLst>
          </a:prstGeom>
          <a:solidFill>
            <a:schemeClr val="bg1">
              <a:lumMod val="85000"/>
            </a:schemeClr>
          </a:solidFill>
          <a:ln w="6350" algn="ctr">
            <a:solidFill>
              <a:srgbClr val="D7E1F5"/>
            </a:solidFill>
            <a:miter lim="800000"/>
            <a:headEnd/>
            <a:tailEnd/>
          </a:ln>
          <a:extLst/>
        </p:spPr>
        <p:txBody>
          <a:bodyPr lIns="54000" tIns="54000" rIns="54000" bIns="54000" anchor="ctr"/>
          <a:lstStyle/>
          <a:p>
            <a:pPr marL="182563" indent="-182563" algn="ctr" defTabSz="330200">
              <a:spcBef>
                <a:spcPct val="40000"/>
              </a:spcBef>
              <a:buClr>
                <a:schemeClr val="folHlink"/>
              </a:buClr>
              <a:tabLst>
                <a:tab pos="8521700" algn="r"/>
              </a:tabLst>
            </a:pPr>
            <a:endParaRPr lang="en-US" sz="1800" dirty="0">
              <a:latin typeface="Arial"/>
            </a:endParaRPr>
          </a:p>
        </p:txBody>
      </p:sp>
      <p:sp>
        <p:nvSpPr>
          <p:cNvPr id="19" name="AutoShape 17"/>
          <p:cNvSpPr>
            <a:spLocks noChangeArrowheads="1"/>
          </p:cNvSpPr>
          <p:nvPr/>
        </p:nvSpPr>
        <p:spPr bwMode="auto">
          <a:xfrm>
            <a:off x="1944142" y="3556766"/>
            <a:ext cx="3091016" cy="1456410"/>
          </a:xfrm>
          <a:prstGeom prst="hexagon">
            <a:avLst>
              <a:gd name="adj" fmla="val 43556"/>
              <a:gd name="vf" fmla="val 115470"/>
            </a:avLst>
          </a:prstGeom>
          <a:solidFill>
            <a:schemeClr val="bg1">
              <a:lumMod val="85000"/>
            </a:schemeClr>
          </a:solidFill>
          <a:ln w="6350" algn="ctr">
            <a:solidFill>
              <a:srgbClr val="D7E1F5"/>
            </a:solidFill>
            <a:miter lim="800000"/>
            <a:headEnd/>
            <a:tailEnd/>
          </a:ln>
          <a:extLst/>
        </p:spPr>
        <p:txBody>
          <a:bodyPr lIns="54000" tIns="54000" rIns="54000" bIns="54000" anchor="ctr"/>
          <a:lstStyle/>
          <a:p>
            <a:pPr marL="0" lvl="1" algn="ctr" defTabSz="330200">
              <a:spcBef>
                <a:spcPct val="40000"/>
              </a:spcBef>
              <a:buClr>
                <a:schemeClr val="folHlink"/>
              </a:buClr>
              <a:tabLst>
                <a:tab pos="8521700" algn="r"/>
              </a:tabLst>
            </a:pPr>
            <a:endParaRPr lang="en-US" sz="1800" dirty="0">
              <a:latin typeface="Arial"/>
            </a:endParaRPr>
          </a:p>
        </p:txBody>
      </p:sp>
      <p:sp>
        <p:nvSpPr>
          <p:cNvPr id="20" name="AutoShape 18"/>
          <p:cNvSpPr>
            <a:spLocks noChangeArrowheads="1"/>
          </p:cNvSpPr>
          <p:nvPr/>
        </p:nvSpPr>
        <p:spPr bwMode="auto">
          <a:xfrm>
            <a:off x="6990700" y="1884508"/>
            <a:ext cx="3091016" cy="1454793"/>
          </a:xfrm>
          <a:prstGeom prst="hexagon">
            <a:avLst>
              <a:gd name="adj" fmla="val 43604"/>
              <a:gd name="vf" fmla="val 115470"/>
            </a:avLst>
          </a:prstGeom>
          <a:solidFill>
            <a:schemeClr val="bg1">
              <a:lumMod val="85000"/>
            </a:schemeClr>
          </a:solidFill>
          <a:ln w="6350" algn="ctr">
            <a:solidFill>
              <a:srgbClr val="D7E1F5"/>
            </a:solidFill>
            <a:miter lim="800000"/>
            <a:headEnd/>
            <a:tailEnd/>
          </a:ln>
          <a:extLst/>
        </p:spPr>
        <p:txBody>
          <a:bodyPr lIns="54000" tIns="54000" rIns="54000" bIns="54000" anchor="ctr"/>
          <a:lstStyle/>
          <a:p>
            <a:pPr marL="182563" indent="-182563" algn="ctr" defTabSz="330200">
              <a:spcBef>
                <a:spcPct val="40000"/>
              </a:spcBef>
              <a:buClr>
                <a:schemeClr val="folHlink"/>
              </a:buClr>
              <a:tabLst>
                <a:tab pos="8521700" algn="r"/>
              </a:tabLst>
            </a:pPr>
            <a:endParaRPr lang="en-US" sz="1800" dirty="0">
              <a:latin typeface="Arial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968478" y="1485503"/>
            <a:ext cx="2093560" cy="7193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existing</a:t>
            </a:r>
            <a:r>
              <a:rPr lang="de-DE" sz="1800" dirty="0" smtClean="0"/>
              <a:t> </a:t>
            </a:r>
            <a:r>
              <a:rPr lang="de-DE" sz="1800" dirty="0" err="1" smtClean="0"/>
              <a:t>data</a:t>
            </a:r>
            <a:r>
              <a:rPr lang="de-DE" sz="1800" dirty="0" smtClean="0"/>
              <a:t> </a:t>
            </a:r>
            <a:r>
              <a:rPr lang="de-DE" sz="1800" dirty="0" err="1" smtClean="0"/>
              <a:t>from</a:t>
            </a:r>
            <a:r>
              <a:rPr lang="de-DE" sz="1800" dirty="0" smtClean="0"/>
              <a:t> </a:t>
            </a:r>
            <a:r>
              <a:rPr lang="de-DE" sz="1800" dirty="0" err="1" smtClean="0"/>
              <a:t>already</a:t>
            </a:r>
            <a:r>
              <a:rPr lang="de-DE" sz="1800" dirty="0" smtClean="0"/>
              <a:t> </a:t>
            </a:r>
            <a:r>
              <a:rPr lang="de-DE" sz="1800" dirty="0" err="1" smtClean="0"/>
              <a:t>running</a:t>
            </a:r>
            <a:r>
              <a:rPr lang="de-DE" sz="1800" dirty="0" smtClean="0"/>
              <a:t> initiatives</a:t>
            </a:r>
            <a:endParaRPr lang="de-DE" sz="1800" dirty="0"/>
          </a:p>
        </p:txBody>
      </p:sp>
      <p:sp>
        <p:nvSpPr>
          <p:cNvPr id="26" name="Textfeld 25"/>
          <p:cNvSpPr txBox="1"/>
          <p:nvPr/>
        </p:nvSpPr>
        <p:spPr>
          <a:xfrm>
            <a:off x="7272734" y="1916832"/>
            <a:ext cx="2520280" cy="13684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lvl="1" algn="ctr" defTabSz="330200">
              <a:spcBef>
                <a:spcPct val="40000"/>
              </a:spcBef>
              <a:buClr>
                <a:schemeClr val="folHlink"/>
              </a:buClr>
              <a:tabLst>
                <a:tab pos="8521700" algn="r"/>
              </a:tabLst>
            </a:pPr>
            <a:r>
              <a:rPr lang="en-US" sz="1800" dirty="0">
                <a:latin typeface="Arial"/>
              </a:rPr>
              <a:t>Continuous liaison with all stakeholders to include feedback at all stages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2229510" y="1942803"/>
            <a:ext cx="2520280" cy="13684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82563" lvl="1" indent="-182563" algn="ctr" defTabSz="330200">
              <a:spcBef>
                <a:spcPct val="40000"/>
              </a:spcBef>
              <a:buClr>
                <a:schemeClr val="folHlink"/>
              </a:buClr>
              <a:tabLst>
                <a:tab pos="8521700" algn="r"/>
              </a:tabLst>
            </a:pPr>
            <a:r>
              <a:rPr lang="en-US" sz="1800" dirty="0">
                <a:latin typeface="Arial"/>
              </a:rPr>
              <a:t> Standardized data collection via templates with flexibility to collect all data </a:t>
            </a:r>
            <a:r>
              <a:rPr lang="en-US" sz="1800" dirty="0" smtClean="0">
                <a:latin typeface="Arial"/>
              </a:rPr>
              <a:t>sets</a:t>
            </a:r>
            <a:endParaRPr lang="en-US" sz="1800" dirty="0">
              <a:latin typeface="Arial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2193568" y="3536663"/>
            <a:ext cx="2520280" cy="145323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82563" indent="-182563" algn="ctr" defTabSz="330200">
              <a:spcBef>
                <a:spcPct val="40000"/>
              </a:spcBef>
              <a:buClr>
                <a:schemeClr val="folHlink"/>
              </a:buClr>
              <a:tabLst>
                <a:tab pos="8521700" algn="r"/>
              </a:tabLst>
            </a:pPr>
            <a:r>
              <a:rPr lang="en-US" sz="1800" dirty="0">
                <a:latin typeface="Arial"/>
              </a:rPr>
              <a:t>National regulation and open access rules are taken into account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4782805" y="4437063"/>
            <a:ext cx="2520280" cy="13684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82563" lvl="1" indent="-182563" algn="ctr" defTabSz="330200">
              <a:spcBef>
                <a:spcPts val="0"/>
              </a:spcBef>
              <a:buClr>
                <a:schemeClr val="folHlink"/>
              </a:buClr>
              <a:tabLst>
                <a:tab pos="8521700" algn="r"/>
              </a:tabLst>
            </a:pPr>
            <a:r>
              <a:rPr lang="en-US" sz="1800" b="1" dirty="0" smtClean="0">
                <a:latin typeface="Arial"/>
              </a:rPr>
              <a:t>Objective: </a:t>
            </a:r>
          </a:p>
          <a:p>
            <a:pPr marL="182563" lvl="1" indent="-182563" algn="ctr" defTabSz="330200">
              <a:spcBef>
                <a:spcPts val="0"/>
              </a:spcBef>
              <a:buClr>
                <a:schemeClr val="folHlink"/>
              </a:buClr>
              <a:tabLst>
                <a:tab pos="8521700" algn="r"/>
              </a:tabLst>
            </a:pPr>
            <a:r>
              <a:rPr lang="en-US" sz="1800" b="1" dirty="0" smtClean="0">
                <a:latin typeface="Arial"/>
              </a:rPr>
              <a:t>Visualization of all data on NUTS3 level (small regions)</a:t>
            </a:r>
            <a:endParaRPr lang="en-US" sz="1800" b="1" dirty="0">
              <a:latin typeface="Arial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7368733" y="3577480"/>
            <a:ext cx="2424281" cy="136842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182563" lvl="1" indent="-182563" algn="ctr" defTabSz="330200">
              <a:spcBef>
                <a:spcPts val="0"/>
              </a:spcBef>
              <a:buClr>
                <a:schemeClr val="folHlink"/>
              </a:buClr>
              <a:tabLst>
                <a:tab pos="8521700" algn="r"/>
              </a:tabLst>
            </a:pPr>
            <a:r>
              <a:rPr lang="en-US" sz="1800" dirty="0">
                <a:latin typeface="Arial"/>
              </a:rPr>
              <a:t>Practice-oriented </a:t>
            </a:r>
          </a:p>
          <a:p>
            <a:pPr marL="182563" lvl="1" indent="-182563" algn="ctr" defTabSz="330200">
              <a:spcBef>
                <a:spcPts val="0"/>
              </a:spcBef>
              <a:buClr>
                <a:schemeClr val="folHlink"/>
              </a:buClr>
              <a:tabLst>
                <a:tab pos="8521700" algn="r"/>
              </a:tabLst>
            </a:pPr>
            <a:r>
              <a:rPr lang="en-US" sz="1800" dirty="0">
                <a:latin typeface="Arial"/>
              </a:rPr>
              <a:t>definitions to categorize </a:t>
            </a:r>
          </a:p>
          <a:p>
            <a:pPr marL="182563" lvl="1" indent="-182563" algn="ctr" defTabSz="330200">
              <a:spcBef>
                <a:spcPts val="0"/>
              </a:spcBef>
              <a:buClr>
                <a:schemeClr val="folHlink"/>
              </a:buClr>
              <a:tabLst>
                <a:tab pos="8521700" algn="r"/>
              </a:tabLst>
            </a:pPr>
            <a:r>
              <a:rPr lang="en-US" sz="1800" dirty="0">
                <a:latin typeface="Arial"/>
              </a:rPr>
              <a:t>all data sets based on national initiatives</a:t>
            </a:r>
          </a:p>
        </p:txBody>
      </p:sp>
    </p:spTree>
    <p:extLst>
      <p:ext uri="{BB962C8B-B14F-4D97-AF65-F5344CB8AC3E}">
        <p14:creationId xmlns:p14="http://schemas.microsoft.com/office/powerpoint/2010/main" val="1543326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4" grpId="0"/>
      <p:bldP spid="26" grpId="0"/>
      <p:bldP spid="27" grpId="0"/>
      <p:bldP spid="28" grpId="0"/>
      <p:bldP spid="29" grpId="0"/>
      <p:bldP spid="3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571" y="2"/>
            <a:ext cx="10775917" cy="893850"/>
          </a:xfrm>
        </p:spPr>
        <p:txBody>
          <a:bodyPr/>
          <a:lstStyle/>
          <a:p>
            <a:pPr marL="0"/>
            <a:r>
              <a:rPr lang="en-US" altLang="en-US" b="1" dirty="0"/>
              <a:t>What are our data </a:t>
            </a:r>
            <a:r>
              <a:rPr lang="en-US" altLang="en-US" b="1" dirty="0" smtClean="0"/>
              <a:t>sets?</a:t>
            </a:r>
            <a:endParaRPr lang="en-US" altLang="en-US" b="1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graphicFrame>
        <p:nvGraphicFramePr>
          <p:cNvPr id="10" name="Inhaltsplatzhalter 15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619677"/>
              </p:ext>
            </p:extLst>
          </p:nvPr>
        </p:nvGraphicFramePr>
        <p:xfrm>
          <a:off x="287958" y="1196752"/>
          <a:ext cx="11712921" cy="4603768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</a:effectLst>
              </a:tblPr>
              <a:tblGrid>
                <a:gridCol w="1487785"/>
                <a:gridCol w="6264696"/>
                <a:gridCol w="3960440"/>
              </a:tblGrid>
              <a:tr h="11311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EU-Broadband mapping project collects data on different Quality of Service (</a:t>
                      </a:r>
                      <a:r>
                        <a:rPr kumimoji="0" lang="en-GB" sz="16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oS</a:t>
                      </a:r>
                      <a:r>
                        <a:rPr kumimoji="0" lang="en-GB" sz="16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definitions</a:t>
                      </a: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3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oS-1: Theoretical</a:t>
                      </a:r>
                      <a:endParaRPr lang="en-GB" sz="1600" b="1" kern="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6D9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1" kern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dirty="0"/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820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1" kern="0" noProof="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oS-2: 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ctice 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timal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6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6D9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6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F549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783" marR="53783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681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600" b="1" kern="0" noProof="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b="1" kern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oS-3: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b="1" kern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ctice experience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6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6D9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6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dirty="0"/>
                    </a:p>
                  </a:txBody>
                  <a:tcPr marL="53783" marR="53783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23" name="Straight Connector 6"/>
          <p:cNvCxnSpPr/>
          <p:nvPr/>
        </p:nvCxnSpPr>
        <p:spPr bwMode="auto">
          <a:xfrm>
            <a:off x="9425132" y="1267095"/>
            <a:ext cx="0" cy="464773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Dot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44"/>
          <p:cNvCxnSpPr/>
          <p:nvPr/>
        </p:nvCxnSpPr>
        <p:spPr bwMode="auto">
          <a:xfrm flipH="1">
            <a:off x="10664074" y="1267095"/>
            <a:ext cx="11334" cy="464773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Dot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Left-Right Arrow 9"/>
          <p:cNvSpPr/>
          <p:nvPr/>
        </p:nvSpPr>
        <p:spPr bwMode="auto">
          <a:xfrm>
            <a:off x="9425132" y="2805493"/>
            <a:ext cx="1250276" cy="216024"/>
          </a:xfrm>
          <a:prstGeom prst="leftRightArrow">
            <a:avLst/>
          </a:prstGeom>
          <a:solidFill>
            <a:srgbClr val="216D9E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26" name="Left-Right Arrow 45"/>
          <p:cNvSpPr/>
          <p:nvPr/>
        </p:nvSpPr>
        <p:spPr bwMode="auto">
          <a:xfrm>
            <a:off x="8075277" y="3984043"/>
            <a:ext cx="2564075" cy="216024"/>
          </a:xfrm>
          <a:prstGeom prst="leftRightArrow">
            <a:avLst/>
          </a:prstGeom>
          <a:solidFill>
            <a:srgbClr val="216D9E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27" name="Left-Right Arrow 46"/>
          <p:cNvSpPr/>
          <p:nvPr/>
        </p:nvSpPr>
        <p:spPr bwMode="auto">
          <a:xfrm>
            <a:off x="8040439" y="5106918"/>
            <a:ext cx="3916266" cy="216024"/>
          </a:xfrm>
          <a:prstGeom prst="leftRightArrow">
            <a:avLst/>
          </a:prstGeom>
          <a:solidFill>
            <a:srgbClr val="216D9E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28" name="TextBox 47"/>
          <p:cNvSpPr txBox="1"/>
          <p:nvPr/>
        </p:nvSpPr>
        <p:spPr>
          <a:xfrm>
            <a:off x="9600725" y="2543883"/>
            <a:ext cx="8990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kern="0" dirty="0">
                <a:solidFill>
                  <a:srgbClr val="216D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oS-1</a:t>
            </a:r>
            <a:endParaRPr lang="en-GB" b="1" dirty="0">
              <a:solidFill>
                <a:srgbClr val="216D9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48"/>
          <p:cNvSpPr txBox="1"/>
          <p:nvPr/>
        </p:nvSpPr>
        <p:spPr>
          <a:xfrm>
            <a:off x="8839145" y="3731922"/>
            <a:ext cx="10363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ctr">
              <a:defRPr sz="1100" b="1" kern="0">
                <a:solidFill>
                  <a:srgbClr val="3166C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sz="1600" dirty="0">
                <a:solidFill>
                  <a:srgbClr val="216D9E"/>
                </a:solidFill>
              </a:rPr>
              <a:t>QoS-2</a:t>
            </a:r>
          </a:p>
        </p:txBody>
      </p:sp>
      <p:sp>
        <p:nvSpPr>
          <p:cNvPr id="30" name="TextBox 49"/>
          <p:cNvSpPr txBox="1"/>
          <p:nvPr/>
        </p:nvSpPr>
        <p:spPr>
          <a:xfrm>
            <a:off x="9549027" y="4848139"/>
            <a:ext cx="8990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ctr">
              <a:defRPr sz="1100" b="1" kern="0">
                <a:solidFill>
                  <a:srgbClr val="3166C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sz="1600" dirty="0">
                <a:solidFill>
                  <a:srgbClr val="216D9E"/>
                </a:solidFill>
              </a:rPr>
              <a:t>QoS-3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8110088" y="1196752"/>
            <a:ext cx="3834196" cy="1042264"/>
            <a:chOff x="8110088" y="1196752"/>
            <a:chExt cx="3834196" cy="1042264"/>
          </a:xfrm>
        </p:grpSpPr>
        <p:pic>
          <p:nvPicPr>
            <p:cNvPr id="7" name="Picture 3" descr="H:\My Documents\CNECT.B.5\Studies\Mapping broadband infrastructures and services phase II SMART 20140016\Cocom\internet-service-provider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1478" y="1551747"/>
              <a:ext cx="849984" cy="676588"/>
            </a:xfrm>
            <a:prstGeom prst="rect">
              <a:avLst/>
            </a:prstGeom>
            <a:noFill/>
            <a:effectLst>
              <a:glow rad="127000">
                <a:schemeClr val="accent1">
                  <a:alpha val="21000"/>
                </a:schemeClr>
              </a:glo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6" descr="http://vignette3.wikia.nocookie.net/lieblingsbuecher/images/3/3d/Haus_-_Vector-Icon.png/revision/latest?cb=20140129173224&amp;path-prefix=de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21306" y="1544803"/>
              <a:ext cx="267542" cy="1656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hteck 50"/>
            <p:cNvSpPr/>
            <p:nvPr/>
          </p:nvSpPr>
          <p:spPr bwMode="auto">
            <a:xfrm>
              <a:off x="10477940" y="1591338"/>
              <a:ext cx="379655" cy="636997"/>
            </a:xfrm>
            <a:prstGeom prst="rect">
              <a:avLst/>
            </a:prstGeom>
            <a:gradFill>
              <a:gsLst>
                <a:gs pos="7000">
                  <a:schemeClr val="tx1">
                    <a:alpha val="0"/>
                  </a:schemeClr>
                </a:gs>
                <a:gs pos="35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ln w="28575">
              <a:solidFill>
                <a:schemeClr val="tx2"/>
              </a:solidFill>
              <a:prstDash val="dash"/>
            </a:ln>
            <a:effectLst/>
            <a:ex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9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PE</a:t>
              </a:r>
              <a:endPara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1" name="Group 1"/>
            <p:cNvGrpSpPr/>
            <p:nvPr/>
          </p:nvGrpSpPr>
          <p:grpSpPr>
            <a:xfrm>
              <a:off x="11763789" y="1766748"/>
              <a:ext cx="145824" cy="286175"/>
              <a:chOff x="8673366" y="2588159"/>
              <a:chExt cx="145824" cy="286175"/>
            </a:xfrm>
          </p:grpSpPr>
          <p:sp>
            <p:nvSpPr>
              <p:cNvPr id="12" name="Ellipse 144"/>
              <p:cNvSpPr/>
              <p:nvPr/>
            </p:nvSpPr>
            <p:spPr bwMode="auto">
              <a:xfrm>
                <a:off x="8709822" y="2675914"/>
                <a:ext cx="72913" cy="198420"/>
              </a:xfrm>
              <a:prstGeom prst="ellipse">
                <a:avLst/>
              </a:prstGeom>
              <a:solidFill>
                <a:srgbClr val="000000"/>
              </a:solidFill>
              <a:ln w="127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" name="Ellipse 146"/>
              <p:cNvSpPr/>
              <p:nvPr/>
            </p:nvSpPr>
            <p:spPr bwMode="auto">
              <a:xfrm>
                <a:off x="8709821" y="2588159"/>
                <a:ext cx="72913" cy="81235"/>
              </a:xfrm>
              <a:prstGeom prst="ellipse">
                <a:avLst/>
              </a:prstGeom>
              <a:solidFill>
                <a:srgbClr val="000000"/>
              </a:solidFill>
              <a:ln w="127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" name="Ellipse 147"/>
              <p:cNvSpPr/>
              <p:nvPr/>
            </p:nvSpPr>
            <p:spPr bwMode="auto">
              <a:xfrm>
                <a:off x="8746277" y="2689868"/>
                <a:ext cx="72913" cy="34196"/>
              </a:xfrm>
              <a:prstGeom prst="ellipse">
                <a:avLst/>
              </a:prstGeom>
              <a:solidFill>
                <a:srgbClr val="000000"/>
              </a:solidFill>
              <a:ln w="127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5" name="Ellipse 148"/>
              <p:cNvSpPr/>
              <p:nvPr/>
            </p:nvSpPr>
            <p:spPr bwMode="auto">
              <a:xfrm>
                <a:off x="8673366" y="2689864"/>
                <a:ext cx="72913" cy="34196"/>
              </a:xfrm>
              <a:prstGeom prst="ellipse">
                <a:avLst/>
              </a:prstGeom>
              <a:solidFill>
                <a:srgbClr val="000000"/>
              </a:solidFill>
              <a:ln w="127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pic>
          <p:nvPicPr>
            <p:cNvPr id="16" name="Picture 2" descr="http://3.bp.blogspot.com/-8iwsgNMro8w/VSOGsxio8BI/AAAAAAAAAQs/FYA-1dCswXo/s1600/router_icon_black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55976" y="1973068"/>
              <a:ext cx="246252" cy="2229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hteck 50"/>
            <p:cNvSpPr/>
            <p:nvPr/>
          </p:nvSpPr>
          <p:spPr bwMode="auto">
            <a:xfrm>
              <a:off x="9315273" y="1620931"/>
              <a:ext cx="219718" cy="516103"/>
            </a:xfrm>
            <a:prstGeom prst="rect">
              <a:avLst/>
            </a:prstGeom>
            <a:gradFill>
              <a:gsLst>
                <a:gs pos="37000">
                  <a:schemeClr val="tx1"/>
                </a:gs>
                <a:gs pos="85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ln w="28575">
              <a:solidFill>
                <a:schemeClr val="tx2"/>
              </a:solidFill>
              <a:prstDash val="dash"/>
            </a:ln>
            <a:effectLst/>
            <a:ex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9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IXP</a:t>
              </a:r>
              <a:endPara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echteck 50"/>
            <p:cNvSpPr/>
            <p:nvPr/>
          </p:nvSpPr>
          <p:spPr bwMode="auto">
            <a:xfrm>
              <a:off x="8110088" y="1628680"/>
              <a:ext cx="219718" cy="516103"/>
            </a:xfrm>
            <a:prstGeom prst="rect">
              <a:avLst/>
            </a:prstGeom>
            <a:solidFill>
              <a:schemeClr val="tx1"/>
            </a:solidFill>
            <a:ln w="28575">
              <a:solidFill>
                <a:schemeClr val="tx2"/>
              </a:solidFill>
            </a:ln>
            <a:effectLst/>
            <a:ex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9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IXP</a:t>
              </a:r>
              <a:endPara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4"/>
            <p:cNvSpPr txBox="1"/>
            <p:nvPr/>
          </p:nvSpPr>
          <p:spPr>
            <a:xfrm>
              <a:off x="8110088" y="1196753"/>
              <a:ext cx="126204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net</a:t>
              </a:r>
              <a:endPara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TextBox 38"/>
            <p:cNvSpPr txBox="1"/>
            <p:nvPr/>
          </p:nvSpPr>
          <p:spPr>
            <a:xfrm>
              <a:off x="9372130" y="1196753"/>
              <a:ext cx="124467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AP</a:t>
              </a:r>
              <a:endPara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extBox 39"/>
            <p:cNvSpPr txBox="1"/>
            <p:nvPr/>
          </p:nvSpPr>
          <p:spPr>
            <a:xfrm>
              <a:off x="10704735" y="1196752"/>
              <a:ext cx="123954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d User</a:t>
              </a:r>
              <a:endPara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1" name="Picture 4" descr="H:\My Documents\CNECT.B.5\Studies\Mapping broadband infrastructures and services phase II SMART 20140016\Cocom\Router_mark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10426" y="1617683"/>
              <a:ext cx="768087" cy="6213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2" descr="H:\My Documents\CNECT.B.5\Studies\Mapping broadband infrastructures and services phase II SMART 20140016\Cocom\tv-computer-laptop-tablet-mobile_jpg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14630" y="1710473"/>
              <a:ext cx="802850" cy="5285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Textfeld 3"/>
          <p:cNvSpPr txBox="1"/>
          <p:nvPr/>
        </p:nvSpPr>
        <p:spPr>
          <a:xfrm>
            <a:off x="1871663" y="2348880"/>
            <a:ext cx="6168776" cy="10081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What: </a:t>
            </a:r>
            <a:r>
              <a:rPr lang="en-GB" kern="0" dirty="0">
                <a:latin typeface="Arial" panose="020B0604020202020204" pitchFamily="34" charset="0"/>
                <a:cs typeface="Arial" panose="020B0604020202020204" pitchFamily="34" charset="0"/>
              </a:rPr>
              <a:t>Predicted network performance of existing infrastructure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How</a:t>
            </a:r>
            <a:r>
              <a:rPr lang="en-GB" kern="0" dirty="0">
                <a:latin typeface="Arial" panose="020B0604020202020204" pitchFamily="34" charset="0"/>
                <a:cs typeface="Arial" panose="020B0604020202020204" pitchFamily="34" charset="0"/>
              </a:rPr>
              <a:t>: Assessment / calculation by providers.  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Example:  </a:t>
            </a:r>
            <a:r>
              <a:rPr lang="en-GB" kern="0" dirty="0">
                <a:latin typeface="Arial" panose="020B0604020202020204" pitchFamily="34" charset="0"/>
                <a:cs typeface="Arial" panose="020B0604020202020204" pitchFamily="34" charset="0"/>
              </a:rPr>
              <a:t>Project by European Commission re. to all EU national initiatives (data collected by European Commission’s contractor</a:t>
            </a:r>
            <a:r>
              <a:rPr lang="en-GB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871663" y="3356992"/>
            <a:ext cx="6048375" cy="12961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What: </a:t>
            </a:r>
            <a:r>
              <a:rPr lang="en-GB" kern="0" dirty="0">
                <a:latin typeface="Arial" panose="020B0604020202020204" pitchFamily="34" charset="0"/>
                <a:cs typeface="Arial" panose="020B0604020202020204" pitchFamily="34" charset="0"/>
              </a:rPr>
              <a:t>Line qualification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How: </a:t>
            </a:r>
            <a:r>
              <a:rPr lang="en-GB" kern="0" dirty="0">
                <a:latin typeface="Arial" panose="020B0604020202020204" pitchFamily="34" charset="0"/>
                <a:cs typeface="Arial" panose="020B0604020202020204" pitchFamily="34" charset="0"/>
              </a:rPr>
              <a:t>Measurement through panel probes or speed tests with filter to </a:t>
            </a:r>
            <a:r>
              <a:rPr lang="en-GB" u="sng" kern="0" dirty="0">
                <a:latin typeface="Arial" panose="020B0604020202020204" pitchFamily="34" charset="0"/>
                <a:cs typeface="Arial" panose="020B0604020202020204" pitchFamily="34" charset="0"/>
              </a:rPr>
              <a:t>exclude</a:t>
            </a:r>
            <a:r>
              <a:rPr lang="en-GB" kern="0" dirty="0">
                <a:latin typeface="Arial" panose="020B0604020202020204" pitchFamily="34" charset="0"/>
                <a:cs typeface="Arial" panose="020B0604020202020204" pitchFamily="34" charset="0"/>
              </a:rPr>
              <a:t> end user‘s environment 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r>
              <a:rPr lang="en-GB" kern="0" dirty="0">
                <a:latin typeface="Arial" panose="020B0604020202020204" pitchFamily="34" charset="0"/>
                <a:cs typeface="Arial" panose="020B0604020202020204" pitchFamily="34" charset="0"/>
              </a:rPr>
              <a:t>: German or Italian NRA initiatives, private mapping initiatives, e.g. </a:t>
            </a:r>
            <a:r>
              <a:rPr lang="en-GB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amKnows</a:t>
            </a:r>
            <a:endParaRPr lang="en-GB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1871663" y="4612192"/>
            <a:ext cx="6168776" cy="10801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What: </a:t>
            </a:r>
            <a:r>
              <a:rPr lang="en-GB" kern="0" dirty="0">
                <a:latin typeface="Arial" panose="020B0604020202020204" pitchFamily="34" charset="0"/>
                <a:cs typeface="Arial" panose="020B0604020202020204" pitchFamily="34" charset="0"/>
              </a:rPr>
              <a:t>Actual user’s experience when using Internet Access Service (IAS)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How:</a:t>
            </a:r>
            <a:r>
              <a:rPr lang="en-GB" kern="0" dirty="0">
                <a:latin typeface="Arial" panose="020B0604020202020204" pitchFamily="34" charset="0"/>
                <a:cs typeface="Arial" panose="020B0604020202020204" pitchFamily="34" charset="0"/>
              </a:rPr>
              <a:t> Measurement via online speed tests </a:t>
            </a:r>
            <a:r>
              <a:rPr lang="en-GB" u="sng" kern="0" dirty="0">
                <a:latin typeface="Arial" panose="020B0604020202020204" pitchFamily="34" charset="0"/>
                <a:cs typeface="Arial" panose="020B0604020202020204" pitchFamily="34" charset="0"/>
              </a:rPr>
              <a:t>including</a:t>
            </a:r>
            <a:r>
              <a:rPr lang="en-GB" kern="0" dirty="0">
                <a:latin typeface="Arial" panose="020B0604020202020204" pitchFamily="34" charset="0"/>
                <a:cs typeface="Arial" panose="020B0604020202020204" pitchFamily="34" charset="0"/>
              </a:rPr>
              <a:t> end user environment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kern="0" dirty="0">
                <a:latin typeface="Arial" panose="020B0604020202020204" pitchFamily="34" charset="0"/>
                <a:cs typeface="Arial" panose="020B0604020202020204" pitchFamily="34" charset="0"/>
              </a:rPr>
              <a:t>Examples: </a:t>
            </a:r>
            <a:r>
              <a:rPr lang="en-GB" kern="0" dirty="0">
                <a:latin typeface="Arial" panose="020B0604020202020204" pitchFamily="34" charset="0"/>
                <a:cs typeface="Arial" panose="020B0604020202020204" pitchFamily="34" charset="0"/>
              </a:rPr>
              <a:t>Private mapping initiatives, e.g. Akamai, </a:t>
            </a:r>
            <a:r>
              <a:rPr lang="en-GB" kern="0" dirty="0" err="1">
                <a:latin typeface="Arial" panose="020B0604020202020204" pitchFamily="34" charset="0"/>
                <a:cs typeface="Arial" panose="020B0604020202020204" pitchFamily="34" charset="0"/>
              </a:rPr>
              <a:t>Opensigna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32464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27" grpId="0" animBg="1"/>
      <p:bldP spid="28" grpId="0"/>
      <p:bldP spid="29" grpId="0"/>
      <p:bldP spid="30" grpId="0"/>
      <p:bldP spid="4" grpId="0"/>
      <p:bldP spid="6" grpId="0"/>
      <p:bldP spid="1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571" y="2"/>
            <a:ext cx="10775917" cy="893850"/>
          </a:xfrm>
        </p:spPr>
        <p:txBody>
          <a:bodyPr/>
          <a:lstStyle/>
          <a:p>
            <a:pPr marL="0"/>
            <a:r>
              <a:rPr lang="en-US" altLang="en-US" b="1" dirty="0" smtClean="0"/>
              <a:t>Availability of data sets</a:t>
            </a:r>
            <a:endParaRPr lang="en-US" altLang="en-US" b="1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graphicFrame>
        <p:nvGraphicFramePr>
          <p:cNvPr id="10" name="Inhaltsplatzhalter 15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5143869"/>
              </p:ext>
            </p:extLst>
          </p:nvPr>
        </p:nvGraphicFramePr>
        <p:xfrm>
          <a:off x="287958" y="1196752"/>
          <a:ext cx="11712921" cy="4896544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50800" dir="5400000" algn="ctr" rotWithShape="0">
                    <a:srgbClr val="000000">
                      <a:alpha val="0"/>
                    </a:srgbClr>
                  </a:outerShdw>
                </a:effectLst>
              </a:tblPr>
              <a:tblGrid>
                <a:gridCol w="1487785"/>
                <a:gridCol w="6264696"/>
                <a:gridCol w="3960440"/>
              </a:tblGrid>
              <a:tr h="11311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EU-Broadband mapping project collects data on different Quality of Service (</a:t>
                      </a:r>
                      <a:r>
                        <a:rPr kumimoji="0" lang="en-GB" sz="1600" b="1" i="0" u="none" strike="noStrike" kern="0" cap="none" spc="0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oS</a:t>
                      </a:r>
                      <a:r>
                        <a:rPr kumimoji="0" lang="en-GB" sz="1600" b="1" i="0" u="none" strike="noStrike" kern="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definitions</a:t>
                      </a: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342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oS-1: Theoretical</a:t>
                      </a:r>
                      <a:endParaRPr lang="en-GB" sz="1600" b="1" kern="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6D9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 (national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dirty="0"/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8201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1" kern="0" noProof="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oS-2: 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ctice 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timal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6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6D9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 in total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8 national, 4 transnational)</a:t>
                      </a: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F549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783" marR="53783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681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600" b="1" kern="0" noProof="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b="1" kern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oS-3: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600" b="1" kern="0" noProof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ctice experience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GB" sz="16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6D9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in total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1 national, 10 transnational)</a:t>
                      </a: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dirty="0"/>
                    </a:p>
                  </a:txBody>
                  <a:tcPr marL="53783" marR="53783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27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∑</a:t>
                      </a:r>
                      <a:endParaRPr kumimoji="0" lang="en-GB" sz="16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16D9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 in total</a:t>
                      </a:r>
                    </a:p>
                  </a:txBody>
                  <a:tcPr marL="53783" marR="5378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53783" marR="53783" marT="0" marB="0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23" name="Straight Connector 6"/>
          <p:cNvCxnSpPr/>
          <p:nvPr/>
        </p:nvCxnSpPr>
        <p:spPr bwMode="auto">
          <a:xfrm>
            <a:off x="9425132" y="1267095"/>
            <a:ext cx="0" cy="475419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Dot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44"/>
          <p:cNvCxnSpPr/>
          <p:nvPr/>
        </p:nvCxnSpPr>
        <p:spPr bwMode="auto">
          <a:xfrm flipH="1">
            <a:off x="10664074" y="1267095"/>
            <a:ext cx="11334" cy="4754193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Dot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Left-Right Arrow 9"/>
          <p:cNvSpPr/>
          <p:nvPr/>
        </p:nvSpPr>
        <p:spPr bwMode="auto">
          <a:xfrm>
            <a:off x="9425132" y="2805493"/>
            <a:ext cx="1250276" cy="216024"/>
          </a:xfrm>
          <a:prstGeom prst="leftRightArrow">
            <a:avLst/>
          </a:prstGeom>
          <a:solidFill>
            <a:srgbClr val="216D9E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26" name="Left-Right Arrow 45"/>
          <p:cNvSpPr/>
          <p:nvPr/>
        </p:nvSpPr>
        <p:spPr bwMode="auto">
          <a:xfrm>
            <a:off x="8075277" y="3984043"/>
            <a:ext cx="2564075" cy="216024"/>
          </a:xfrm>
          <a:prstGeom prst="leftRightArrow">
            <a:avLst/>
          </a:prstGeom>
          <a:solidFill>
            <a:srgbClr val="216D9E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27" name="Left-Right Arrow 46"/>
          <p:cNvSpPr/>
          <p:nvPr/>
        </p:nvSpPr>
        <p:spPr bwMode="auto">
          <a:xfrm>
            <a:off x="8040439" y="5106918"/>
            <a:ext cx="3916266" cy="216024"/>
          </a:xfrm>
          <a:prstGeom prst="leftRightArrow">
            <a:avLst/>
          </a:prstGeom>
          <a:solidFill>
            <a:srgbClr val="216D9E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b="0" i="0" u="none" strike="noStrike" cap="none" normalizeH="0" baseline="0" smtClean="0">
              <a:ln>
                <a:noFill/>
              </a:ln>
              <a:solidFill>
                <a:srgbClr val="0F5494"/>
              </a:solidFill>
              <a:effectLst/>
              <a:latin typeface="Verdana" pitchFamily="34" charset="0"/>
            </a:endParaRPr>
          </a:p>
        </p:txBody>
      </p:sp>
      <p:sp>
        <p:nvSpPr>
          <p:cNvPr id="28" name="TextBox 47"/>
          <p:cNvSpPr txBox="1"/>
          <p:nvPr/>
        </p:nvSpPr>
        <p:spPr>
          <a:xfrm>
            <a:off x="9600725" y="2543883"/>
            <a:ext cx="8990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kern="0" dirty="0">
                <a:solidFill>
                  <a:srgbClr val="216D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oS-1</a:t>
            </a:r>
            <a:endParaRPr lang="en-GB" b="1" dirty="0">
              <a:solidFill>
                <a:srgbClr val="216D9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48"/>
          <p:cNvSpPr txBox="1"/>
          <p:nvPr/>
        </p:nvSpPr>
        <p:spPr>
          <a:xfrm>
            <a:off x="8839145" y="3731922"/>
            <a:ext cx="10363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ctr">
              <a:defRPr sz="1100" b="1" kern="0">
                <a:solidFill>
                  <a:srgbClr val="3166C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sz="1600" dirty="0">
                <a:solidFill>
                  <a:srgbClr val="216D9E"/>
                </a:solidFill>
              </a:rPr>
              <a:t>QoS-2</a:t>
            </a:r>
          </a:p>
        </p:txBody>
      </p:sp>
      <p:sp>
        <p:nvSpPr>
          <p:cNvPr id="30" name="TextBox 49"/>
          <p:cNvSpPr txBox="1"/>
          <p:nvPr/>
        </p:nvSpPr>
        <p:spPr>
          <a:xfrm>
            <a:off x="9549027" y="4848139"/>
            <a:ext cx="8990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ctr">
              <a:defRPr sz="1100" b="1" kern="0">
                <a:solidFill>
                  <a:srgbClr val="3166C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sz="1600" dirty="0">
                <a:solidFill>
                  <a:srgbClr val="216D9E"/>
                </a:solidFill>
              </a:rPr>
              <a:t>QoS-3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8110088" y="1196752"/>
            <a:ext cx="3834196" cy="1042264"/>
            <a:chOff x="8110088" y="1196752"/>
            <a:chExt cx="3834196" cy="1042264"/>
          </a:xfrm>
        </p:grpSpPr>
        <p:pic>
          <p:nvPicPr>
            <p:cNvPr id="7" name="Picture 3" descr="H:\My Documents\CNECT.B.5\Studies\Mapping broadband infrastructures and services phase II SMART 20140016\Cocom\internet-service-provider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1478" y="1551747"/>
              <a:ext cx="849984" cy="676588"/>
            </a:xfrm>
            <a:prstGeom prst="rect">
              <a:avLst/>
            </a:prstGeom>
            <a:noFill/>
            <a:effectLst>
              <a:glow rad="127000">
                <a:schemeClr val="accent1">
                  <a:alpha val="21000"/>
                </a:schemeClr>
              </a:glo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6" descr="http://vignette3.wikia.nocookie.net/lieblingsbuecher/images/3/3d/Haus_-_Vector-Icon.png/revision/latest?cb=20140129173224&amp;path-prefix=de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21306" y="1544803"/>
              <a:ext cx="267542" cy="1656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hteck 50"/>
            <p:cNvSpPr/>
            <p:nvPr/>
          </p:nvSpPr>
          <p:spPr bwMode="auto">
            <a:xfrm>
              <a:off x="10477940" y="1591338"/>
              <a:ext cx="379655" cy="636997"/>
            </a:xfrm>
            <a:prstGeom prst="rect">
              <a:avLst/>
            </a:prstGeom>
            <a:gradFill>
              <a:gsLst>
                <a:gs pos="7000">
                  <a:schemeClr val="tx1">
                    <a:alpha val="0"/>
                  </a:schemeClr>
                </a:gs>
                <a:gs pos="35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ln w="28575">
              <a:solidFill>
                <a:schemeClr val="tx2"/>
              </a:solidFill>
              <a:prstDash val="dash"/>
            </a:ln>
            <a:effectLst/>
            <a:ex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9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PE</a:t>
              </a:r>
              <a:endPara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1" name="Group 1"/>
            <p:cNvGrpSpPr/>
            <p:nvPr/>
          </p:nvGrpSpPr>
          <p:grpSpPr>
            <a:xfrm>
              <a:off x="11763789" y="1766748"/>
              <a:ext cx="145824" cy="286175"/>
              <a:chOff x="8673366" y="2588159"/>
              <a:chExt cx="145824" cy="286175"/>
            </a:xfrm>
          </p:grpSpPr>
          <p:sp>
            <p:nvSpPr>
              <p:cNvPr id="12" name="Ellipse 144"/>
              <p:cNvSpPr/>
              <p:nvPr/>
            </p:nvSpPr>
            <p:spPr bwMode="auto">
              <a:xfrm>
                <a:off x="8709822" y="2675914"/>
                <a:ext cx="72913" cy="198420"/>
              </a:xfrm>
              <a:prstGeom prst="ellipse">
                <a:avLst/>
              </a:prstGeom>
              <a:solidFill>
                <a:srgbClr val="000000"/>
              </a:solidFill>
              <a:ln w="127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" name="Ellipse 146"/>
              <p:cNvSpPr/>
              <p:nvPr/>
            </p:nvSpPr>
            <p:spPr bwMode="auto">
              <a:xfrm>
                <a:off x="8709821" y="2588159"/>
                <a:ext cx="72913" cy="81235"/>
              </a:xfrm>
              <a:prstGeom prst="ellipse">
                <a:avLst/>
              </a:prstGeom>
              <a:solidFill>
                <a:srgbClr val="000000"/>
              </a:solidFill>
              <a:ln w="127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4" name="Ellipse 147"/>
              <p:cNvSpPr/>
              <p:nvPr/>
            </p:nvSpPr>
            <p:spPr bwMode="auto">
              <a:xfrm>
                <a:off x="8746277" y="2689868"/>
                <a:ext cx="72913" cy="34196"/>
              </a:xfrm>
              <a:prstGeom prst="ellipse">
                <a:avLst/>
              </a:prstGeom>
              <a:solidFill>
                <a:srgbClr val="000000"/>
              </a:solidFill>
              <a:ln w="127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5" name="Ellipse 148"/>
              <p:cNvSpPr/>
              <p:nvPr/>
            </p:nvSpPr>
            <p:spPr bwMode="auto">
              <a:xfrm>
                <a:off x="8673366" y="2689864"/>
                <a:ext cx="72913" cy="34196"/>
              </a:xfrm>
              <a:prstGeom prst="ellipse">
                <a:avLst/>
              </a:prstGeom>
              <a:solidFill>
                <a:srgbClr val="000000"/>
              </a:solidFill>
              <a:ln w="1270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pic>
          <p:nvPicPr>
            <p:cNvPr id="16" name="Picture 2" descr="http://3.bp.blogspot.com/-8iwsgNMro8w/VSOGsxio8BI/AAAAAAAAAQs/FYA-1dCswXo/s1600/router_icon_black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55976" y="1973068"/>
              <a:ext cx="246252" cy="2229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hteck 50"/>
            <p:cNvSpPr/>
            <p:nvPr/>
          </p:nvSpPr>
          <p:spPr bwMode="auto">
            <a:xfrm>
              <a:off x="9315273" y="1620931"/>
              <a:ext cx="219718" cy="516103"/>
            </a:xfrm>
            <a:prstGeom prst="rect">
              <a:avLst/>
            </a:prstGeom>
            <a:gradFill>
              <a:gsLst>
                <a:gs pos="37000">
                  <a:schemeClr val="tx1"/>
                </a:gs>
                <a:gs pos="85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0"/>
            </a:gradFill>
            <a:ln w="28575">
              <a:solidFill>
                <a:schemeClr val="tx2"/>
              </a:solidFill>
              <a:prstDash val="dash"/>
            </a:ln>
            <a:effectLst/>
            <a:ex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9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IXP</a:t>
              </a:r>
              <a:endPara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echteck 50"/>
            <p:cNvSpPr/>
            <p:nvPr/>
          </p:nvSpPr>
          <p:spPr bwMode="auto">
            <a:xfrm>
              <a:off x="8110088" y="1628680"/>
              <a:ext cx="219718" cy="516103"/>
            </a:xfrm>
            <a:prstGeom prst="rect">
              <a:avLst/>
            </a:prstGeom>
            <a:solidFill>
              <a:schemeClr val="tx1"/>
            </a:solidFill>
            <a:ln w="28575">
              <a:solidFill>
                <a:schemeClr val="tx2"/>
              </a:solidFill>
            </a:ln>
            <a:effectLst/>
            <a:extLst/>
          </p:spPr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9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IXP</a:t>
              </a:r>
              <a:endParaRPr kumimoji="0" lang="en-US" sz="9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4"/>
            <p:cNvSpPr txBox="1"/>
            <p:nvPr/>
          </p:nvSpPr>
          <p:spPr>
            <a:xfrm>
              <a:off x="8110088" y="1196753"/>
              <a:ext cx="126204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net</a:t>
              </a:r>
              <a:endPara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TextBox 38"/>
            <p:cNvSpPr txBox="1"/>
            <p:nvPr/>
          </p:nvSpPr>
          <p:spPr>
            <a:xfrm>
              <a:off x="9372130" y="1196753"/>
              <a:ext cx="124467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AP</a:t>
              </a:r>
              <a:endPara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extBox 39"/>
            <p:cNvSpPr txBox="1"/>
            <p:nvPr/>
          </p:nvSpPr>
          <p:spPr>
            <a:xfrm>
              <a:off x="10704735" y="1196752"/>
              <a:ext cx="123954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d User</a:t>
              </a:r>
              <a:endPara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1" name="Picture 4" descr="H:\My Documents\CNECT.B.5\Studies\Mapping broadband infrastructures and services phase II SMART 20140016\Cocom\Router_mark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10426" y="1617683"/>
              <a:ext cx="768087" cy="6213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2" descr="H:\My Documents\CNECT.B.5\Studies\Mapping broadband infrastructures and services phase II SMART 20140016\Cocom\tv-computer-laptop-tablet-mobile_jpg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14630" y="1710473"/>
              <a:ext cx="802850" cy="5285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4607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How</a:t>
            </a:r>
            <a:r>
              <a:rPr lang="de-DE" b="1" dirty="0" smtClean="0"/>
              <a:t> will </a:t>
            </a:r>
            <a:r>
              <a:rPr lang="de-DE" b="1" dirty="0" err="1" smtClean="0"/>
              <a:t>data</a:t>
            </a:r>
            <a:r>
              <a:rPr lang="de-DE" b="1" dirty="0" smtClean="0"/>
              <a:t> </a:t>
            </a:r>
            <a:r>
              <a:rPr lang="de-DE" b="1" dirty="0" err="1" smtClean="0"/>
              <a:t>be</a:t>
            </a:r>
            <a:r>
              <a:rPr lang="de-DE" b="1" dirty="0" smtClean="0"/>
              <a:t> </a:t>
            </a:r>
            <a:r>
              <a:rPr lang="de-DE" b="1" dirty="0" err="1" smtClean="0"/>
              <a:t>collected</a:t>
            </a:r>
            <a:r>
              <a:rPr lang="de-DE" b="1" dirty="0" smtClean="0"/>
              <a:t>?</a:t>
            </a:r>
            <a:endParaRPr lang="en-US" b="1" dirty="0"/>
          </a:p>
        </p:txBody>
      </p:sp>
      <p:cxnSp>
        <p:nvCxnSpPr>
          <p:cNvPr id="17" name="Gerade Verbindung 16"/>
          <p:cNvCxnSpPr>
            <a:stCxn id="59" idx="0"/>
            <a:endCxn id="46" idx="2"/>
          </p:cNvCxnSpPr>
          <p:nvPr/>
        </p:nvCxnSpPr>
        <p:spPr>
          <a:xfrm flipH="1" flipV="1">
            <a:off x="4627333" y="5733280"/>
            <a:ext cx="189629" cy="72008"/>
          </a:xfrm>
          <a:prstGeom prst="line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18" name="Gerade Verbindung 17"/>
          <p:cNvCxnSpPr>
            <a:stCxn id="64" idx="0"/>
          </p:cNvCxnSpPr>
          <p:nvPr/>
        </p:nvCxnSpPr>
        <p:spPr>
          <a:xfrm flipH="1" flipV="1">
            <a:off x="8103804" y="5661272"/>
            <a:ext cx="180132" cy="144016"/>
          </a:xfrm>
          <a:prstGeom prst="line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19" name="Gerade Verbindung 18"/>
          <p:cNvCxnSpPr>
            <a:stCxn id="58" idx="0"/>
            <a:endCxn id="40" idx="2"/>
          </p:cNvCxnSpPr>
          <p:nvPr/>
        </p:nvCxnSpPr>
        <p:spPr>
          <a:xfrm flipH="1" flipV="1">
            <a:off x="8137860" y="4077120"/>
            <a:ext cx="649126" cy="71984"/>
          </a:xfrm>
          <a:prstGeom prst="line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20" name="Gerade Verbindung 19"/>
          <p:cNvCxnSpPr>
            <a:stCxn id="57" idx="0"/>
            <a:endCxn id="40" idx="2"/>
          </p:cNvCxnSpPr>
          <p:nvPr/>
        </p:nvCxnSpPr>
        <p:spPr>
          <a:xfrm flipH="1" flipV="1">
            <a:off x="8137860" y="4077120"/>
            <a:ext cx="1006" cy="143992"/>
          </a:xfrm>
          <a:prstGeom prst="line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21" name="Gerade Verbindung 20"/>
          <p:cNvCxnSpPr>
            <a:stCxn id="56" idx="0"/>
            <a:endCxn id="40" idx="2"/>
          </p:cNvCxnSpPr>
          <p:nvPr/>
        </p:nvCxnSpPr>
        <p:spPr>
          <a:xfrm flipV="1">
            <a:off x="7492854" y="4077120"/>
            <a:ext cx="645006" cy="71984"/>
          </a:xfrm>
          <a:prstGeom prst="line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22" name="Gerade Verbindung 21"/>
          <p:cNvCxnSpPr>
            <a:stCxn id="55" idx="0"/>
            <a:endCxn id="36" idx="2"/>
          </p:cNvCxnSpPr>
          <p:nvPr/>
        </p:nvCxnSpPr>
        <p:spPr>
          <a:xfrm flipH="1" flipV="1">
            <a:off x="4627333" y="4077120"/>
            <a:ext cx="994424" cy="71984"/>
          </a:xfrm>
          <a:prstGeom prst="line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23" name="Gerade Verbindung 22"/>
          <p:cNvCxnSpPr>
            <a:stCxn id="54" idx="0"/>
            <a:endCxn id="36" idx="2"/>
          </p:cNvCxnSpPr>
          <p:nvPr/>
        </p:nvCxnSpPr>
        <p:spPr>
          <a:xfrm flipH="1" flipV="1">
            <a:off x="4627333" y="4077120"/>
            <a:ext cx="271157" cy="143992"/>
          </a:xfrm>
          <a:prstGeom prst="line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24" name="Gerade Verbindung 23"/>
          <p:cNvCxnSpPr>
            <a:stCxn id="53" idx="0"/>
            <a:endCxn id="36" idx="2"/>
          </p:cNvCxnSpPr>
          <p:nvPr/>
        </p:nvCxnSpPr>
        <p:spPr>
          <a:xfrm flipV="1">
            <a:off x="4213313" y="4077120"/>
            <a:ext cx="414020" cy="143992"/>
          </a:xfrm>
          <a:prstGeom prst="line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25" name="Gerade Verbindung 24"/>
          <p:cNvCxnSpPr>
            <a:stCxn id="52" idx="0"/>
            <a:endCxn id="36" idx="2"/>
          </p:cNvCxnSpPr>
          <p:nvPr/>
        </p:nvCxnSpPr>
        <p:spPr>
          <a:xfrm flipV="1">
            <a:off x="3525044" y="4077120"/>
            <a:ext cx="1102289" cy="71996"/>
          </a:xfrm>
          <a:prstGeom prst="line">
            <a:avLst/>
          </a:prstGeom>
          <a:noFill/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26" name="Textfeld 25"/>
          <p:cNvSpPr txBox="1"/>
          <p:nvPr/>
        </p:nvSpPr>
        <p:spPr>
          <a:xfrm>
            <a:off x="1440086" y="1883249"/>
            <a:ext cx="16081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err="1" smtClean="0">
                <a:solidFill>
                  <a:srgbClr val="0070C0"/>
                </a:solidFill>
                <a:latin typeface="+mj-lt"/>
              </a:rPr>
              <a:t>Geometry</a:t>
            </a:r>
            <a:r>
              <a:rPr lang="de-DE" b="1" dirty="0" smtClean="0">
                <a:solidFill>
                  <a:srgbClr val="0070C0"/>
                </a:solidFill>
                <a:latin typeface="+mj-lt"/>
              </a:rPr>
              <a:t> / </a:t>
            </a:r>
            <a:r>
              <a:rPr lang="de-DE" b="1" dirty="0" err="1" smtClean="0">
                <a:solidFill>
                  <a:srgbClr val="0070C0"/>
                </a:solidFill>
                <a:latin typeface="+mj-lt"/>
              </a:rPr>
              <a:t>Spatial</a:t>
            </a:r>
            <a:r>
              <a:rPr lang="de-DE" b="1" dirty="0" smtClean="0">
                <a:solidFill>
                  <a:srgbClr val="0070C0"/>
                </a:solidFill>
                <a:latin typeface="+mj-lt"/>
              </a:rPr>
              <a:t> </a:t>
            </a:r>
            <a:r>
              <a:rPr lang="de-DE" b="1" dirty="0" err="1" smtClean="0">
                <a:solidFill>
                  <a:srgbClr val="0070C0"/>
                </a:solidFill>
                <a:latin typeface="+mj-lt"/>
              </a:rPr>
              <a:t>resolution</a:t>
            </a:r>
            <a:endParaRPr lang="en-GB" b="1" dirty="0">
              <a:solidFill>
                <a:srgbClr val="0070C0"/>
              </a:solidFill>
              <a:latin typeface="+mj-lt"/>
            </a:endParaRPr>
          </a:p>
        </p:txBody>
      </p:sp>
      <p:pic>
        <p:nvPicPr>
          <p:cNvPr id="27" name="Picture 3" descr="S:\EU_Broadbandmapping_III\5_Bearbeitung\06_Konzepte\Abbildungen\NUTS_alle.jpg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9397" y="1556913"/>
            <a:ext cx="1368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hteck 27"/>
          <p:cNvSpPr/>
          <p:nvPr/>
        </p:nvSpPr>
        <p:spPr>
          <a:xfrm>
            <a:off x="3232771" y="2348881"/>
            <a:ext cx="1332000" cy="36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NUTS 3</a:t>
            </a:r>
            <a:endParaRPr kumimoji="0" lang="en-GB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29" name="Picture 4" descr="S:\EU_Broadbandmapping_III\5_Bearbeitung\06_Konzepte\Abbildungen\GRID_alle.jpg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558" y="1556913"/>
            <a:ext cx="1368000" cy="1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hteck 29"/>
          <p:cNvSpPr/>
          <p:nvPr/>
        </p:nvSpPr>
        <p:spPr>
          <a:xfrm>
            <a:off x="5751750" y="2348881"/>
            <a:ext cx="1332000" cy="36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Grid 1Km</a:t>
            </a:r>
            <a:endParaRPr kumimoji="0" lang="en-GB" b="1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1440087" y="3527140"/>
            <a:ext cx="16081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smtClean="0">
                <a:solidFill>
                  <a:srgbClr val="0070C0"/>
                </a:solidFill>
                <a:latin typeface="+mj-lt"/>
              </a:rPr>
              <a:t>Data </a:t>
            </a:r>
            <a:r>
              <a:rPr lang="de-DE" b="1" dirty="0" err="1" smtClean="0">
                <a:solidFill>
                  <a:srgbClr val="0070C0"/>
                </a:solidFill>
                <a:latin typeface="+mj-lt"/>
              </a:rPr>
              <a:t>formats</a:t>
            </a:r>
            <a:endParaRPr lang="en-GB" b="1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1440087" y="4941168"/>
            <a:ext cx="16081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smtClean="0">
                <a:solidFill>
                  <a:srgbClr val="0070C0"/>
                </a:solidFill>
                <a:latin typeface="+mj-lt"/>
              </a:rPr>
              <a:t>Content</a:t>
            </a:r>
            <a:endParaRPr lang="en-GB" b="1" dirty="0">
              <a:solidFill>
                <a:srgbClr val="0070C0"/>
              </a:solidFill>
              <a:latin typeface="+mj-lt"/>
            </a:endParaRPr>
          </a:p>
        </p:txBody>
      </p:sp>
      <p:grpSp>
        <p:nvGrpSpPr>
          <p:cNvPr id="33" name="Gruppieren 32"/>
          <p:cNvGrpSpPr/>
          <p:nvPr/>
        </p:nvGrpSpPr>
        <p:grpSpPr>
          <a:xfrm>
            <a:off x="3817316" y="2924992"/>
            <a:ext cx="1370212" cy="1080120"/>
            <a:chOff x="755575" y="3429000"/>
            <a:chExt cx="1370212" cy="1080120"/>
          </a:xfrm>
        </p:grpSpPr>
        <p:pic>
          <p:nvPicPr>
            <p:cNvPr id="34" name="Picture 3" descr="S:\EU_Broadbandmapping_III\5_Bearbeitung\06_Konzepte\Abbildungen\NUTS_alle.jpg"/>
            <p:cNvPicPr>
              <a:picLocks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17"/>
            <a:stretch/>
          </p:blipFill>
          <p:spPr bwMode="auto">
            <a:xfrm>
              <a:off x="755575" y="3429120"/>
              <a:ext cx="683758" cy="10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4" descr="S:\EU_Broadbandmapping_III\5_Bearbeitung\06_Konzepte\Abbildungen\GRID_alle.jpg"/>
            <p:cNvPicPr>
              <a:picLocks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" r="50668"/>
            <a:stretch/>
          </p:blipFill>
          <p:spPr bwMode="auto">
            <a:xfrm>
              <a:off x="1441787" y="3429000"/>
              <a:ext cx="684000" cy="10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Rechteck 35"/>
          <p:cNvSpPr/>
          <p:nvPr/>
        </p:nvSpPr>
        <p:spPr>
          <a:xfrm>
            <a:off x="3961333" y="3717080"/>
            <a:ext cx="1332000" cy="36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Geo-data</a:t>
            </a:r>
            <a:endParaRPr kumimoji="0" lang="en-GB" b="1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37" name="Gruppieren 36"/>
          <p:cNvGrpSpPr/>
          <p:nvPr/>
        </p:nvGrpSpPr>
        <p:grpSpPr>
          <a:xfrm>
            <a:off x="7204846" y="2924992"/>
            <a:ext cx="1370212" cy="1080120"/>
            <a:chOff x="3203848" y="3429000"/>
            <a:chExt cx="1370212" cy="1080120"/>
          </a:xfrm>
        </p:grpSpPr>
        <p:pic>
          <p:nvPicPr>
            <p:cNvPr id="38" name="Picture 5"/>
            <p:cNvPicPr>
              <a:picLocks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45528" b="38186"/>
            <a:stretch/>
          </p:blipFill>
          <p:spPr bwMode="auto">
            <a:xfrm>
              <a:off x="3890060" y="3429120"/>
              <a:ext cx="684000" cy="108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6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2302"/>
            <a:stretch/>
          </p:blipFill>
          <p:spPr bwMode="auto">
            <a:xfrm>
              <a:off x="3203848" y="3429000"/>
              <a:ext cx="682729" cy="108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0" name="Rechteck 39"/>
          <p:cNvSpPr/>
          <p:nvPr/>
        </p:nvSpPr>
        <p:spPr>
          <a:xfrm>
            <a:off x="7346802" y="3717080"/>
            <a:ext cx="1582116" cy="36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Tables</a:t>
            </a:r>
            <a:r>
              <a:rPr kumimoji="0" lang="de-DE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 / Text</a:t>
            </a:r>
            <a:endParaRPr kumimoji="0" lang="en-GB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1" name="Textfeld 40"/>
          <p:cNvSpPr txBox="1"/>
          <p:nvPr/>
        </p:nvSpPr>
        <p:spPr>
          <a:xfrm>
            <a:off x="4320406" y="1844825"/>
            <a:ext cx="1556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and</a:t>
            </a:r>
            <a:endParaRPr lang="de-DE" b="1" dirty="0" smtClean="0">
              <a:solidFill>
                <a:prstClr val="black">
                  <a:lumMod val="65000"/>
                  <a:lumOff val="35000"/>
                </a:prstClr>
              </a:solidFill>
              <a:latin typeface="+mj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(</a:t>
            </a:r>
            <a:r>
              <a:rPr lang="de-DE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optionally</a:t>
            </a:r>
            <a:r>
              <a:rPr lang="de-DE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)</a:t>
            </a:r>
            <a:endParaRPr lang="en-GB" b="1" dirty="0">
              <a:solidFill>
                <a:prstClr val="black">
                  <a:lumMod val="65000"/>
                  <a:lumOff val="35000"/>
                </a:prstClr>
              </a:solidFill>
              <a:latin typeface="+mj-lt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5757759" y="3450546"/>
            <a:ext cx="9361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or</a:t>
            </a:r>
            <a:endParaRPr lang="en-GB" b="1" dirty="0">
              <a:solidFill>
                <a:prstClr val="black">
                  <a:lumMod val="65000"/>
                  <a:lumOff val="35000"/>
                </a:prstClr>
              </a:solidFill>
              <a:latin typeface="+mj-lt"/>
            </a:endParaRPr>
          </a:p>
        </p:txBody>
      </p:sp>
      <p:grpSp>
        <p:nvGrpSpPr>
          <p:cNvPr id="43" name="Gruppieren 42"/>
          <p:cNvGrpSpPr/>
          <p:nvPr/>
        </p:nvGrpSpPr>
        <p:grpSpPr>
          <a:xfrm>
            <a:off x="3817317" y="4581272"/>
            <a:ext cx="1368152" cy="1080000"/>
            <a:chOff x="755576" y="5013176"/>
            <a:chExt cx="1368152" cy="1080000"/>
          </a:xfrm>
        </p:grpSpPr>
        <p:pic>
          <p:nvPicPr>
            <p:cNvPr id="44" name="Picture 7" descr="S:\EU_Broadbandmapping_III\5_Bearbeitung\06_Konzepte\Abbildungen\NUTS_selektion.jpg"/>
            <p:cNvPicPr>
              <a:picLocks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946" r="22614"/>
            <a:stretch/>
          </p:blipFill>
          <p:spPr bwMode="auto">
            <a:xfrm>
              <a:off x="755576" y="5013176"/>
              <a:ext cx="684000" cy="10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8" descr="S:\EU_Broadbandmapping_III\5_Bearbeitung\06_Konzepte\Abbildungen\GRID_selektion.jpg"/>
            <p:cNvPicPr>
              <a:picLocks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66" r="24217"/>
            <a:stretch/>
          </p:blipFill>
          <p:spPr bwMode="auto">
            <a:xfrm>
              <a:off x="1439728" y="5013176"/>
              <a:ext cx="684000" cy="10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6" name="Rechteck 45"/>
          <p:cNvSpPr/>
          <p:nvPr/>
        </p:nvSpPr>
        <p:spPr>
          <a:xfrm>
            <a:off x="3961333" y="5373240"/>
            <a:ext cx="1332000" cy="36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Attributes</a:t>
            </a:r>
            <a:endParaRPr kumimoji="0" lang="en-GB" b="1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47" name="Gruppieren 46"/>
          <p:cNvGrpSpPr/>
          <p:nvPr/>
        </p:nvGrpSpPr>
        <p:grpSpPr>
          <a:xfrm>
            <a:off x="7274794" y="4581152"/>
            <a:ext cx="1370212" cy="1080120"/>
            <a:chOff x="755575" y="3429000"/>
            <a:chExt cx="1370212" cy="1080120"/>
          </a:xfrm>
        </p:grpSpPr>
        <p:pic>
          <p:nvPicPr>
            <p:cNvPr id="48" name="Picture 3" descr="S:\EU_Broadbandmapping_III\5_Bearbeitung\06_Konzepte\Abbildungen\NUTS_alle.jpg"/>
            <p:cNvPicPr>
              <a:picLocks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17"/>
            <a:stretch/>
          </p:blipFill>
          <p:spPr bwMode="auto">
            <a:xfrm>
              <a:off x="755575" y="3429120"/>
              <a:ext cx="683758" cy="10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4" descr="S:\EU_Broadbandmapping_III\5_Bearbeitung\06_Konzepte\Abbildungen\GRID_alle.jpg"/>
            <p:cNvPicPr>
              <a:picLocks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" r="50668"/>
            <a:stretch/>
          </p:blipFill>
          <p:spPr bwMode="auto">
            <a:xfrm>
              <a:off x="1441787" y="3429000"/>
              <a:ext cx="684000" cy="10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0" name="Rechteck 49"/>
          <p:cNvSpPr/>
          <p:nvPr/>
        </p:nvSpPr>
        <p:spPr>
          <a:xfrm>
            <a:off x="7457022" y="5373240"/>
            <a:ext cx="1332000" cy="3600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Metadata</a:t>
            </a:r>
            <a:endParaRPr kumimoji="0" lang="en-GB" b="1" i="0" u="none" strike="noStrike" kern="0" cap="none" spc="0" normalizeH="0" baseline="0" noProof="0" smtClean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1" name="Textfeld 50"/>
          <p:cNvSpPr txBox="1"/>
          <p:nvPr/>
        </p:nvSpPr>
        <p:spPr>
          <a:xfrm>
            <a:off x="5472534" y="5027599"/>
            <a:ext cx="15662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and</a:t>
            </a:r>
            <a:endParaRPr lang="de-DE" sz="1400" b="1" dirty="0" smtClean="0">
              <a:solidFill>
                <a:prstClr val="black">
                  <a:lumMod val="65000"/>
                  <a:lumOff val="35000"/>
                </a:prstClr>
              </a:solidFill>
              <a:latin typeface="+mj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(</a:t>
            </a:r>
            <a:r>
              <a:rPr lang="de-DE" sz="1400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obligatory</a:t>
            </a:r>
            <a:r>
              <a:rPr lang="de-DE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)</a:t>
            </a:r>
            <a:endParaRPr lang="en-GB" sz="1400" b="1" dirty="0">
              <a:solidFill>
                <a:prstClr val="black">
                  <a:lumMod val="65000"/>
                  <a:lumOff val="35000"/>
                </a:prstClr>
              </a:solidFill>
              <a:latin typeface="+mj-lt"/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3232771" y="4149116"/>
            <a:ext cx="584546" cy="215988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hp</a:t>
            </a: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3" name="Rechteck 52"/>
          <p:cNvSpPr/>
          <p:nvPr/>
        </p:nvSpPr>
        <p:spPr>
          <a:xfrm>
            <a:off x="3961285" y="4221112"/>
            <a:ext cx="504056" cy="216000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ml</a:t>
            </a: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4609452" y="4221112"/>
            <a:ext cx="578075" cy="216000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wfs</a:t>
            </a:r>
            <a:endParaRPr kumimoji="0" lang="en-GB" sz="1400" b="0" i="0" u="none" strike="noStrike" kern="0" cap="none" spc="0" normalizeH="0" baseline="0" noProof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5293333" y="4149104"/>
            <a:ext cx="656848" cy="216000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bd</a:t>
            </a:r>
            <a:endParaRPr kumimoji="0" lang="en-GB" sz="1400" b="0" i="0" u="none" strike="noStrike" kern="0" cap="none" spc="0" normalizeH="0" baseline="0" noProof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7276854" y="4149104"/>
            <a:ext cx="432000" cy="216000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xls</a:t>
            </a:r>
            <a:endParaRPr kumimoji="0" lang="en-GB" sz="1400" b="0" i="0" u="none" strike="noStrike" kern="0" cap="none" spc="0" normalizeH="0" baseline="0" noProof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7850810" y="4221112"/>
            <a:ext cx="576112" cy="264006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sv</a:t>
            </a:r>
            <a:endParaRPr kumimoji="0" lang="en-GB" sz="1400" b="0" i="0" u="none" strike="noStrike" kern="0" cap="none" spc="0" normalizeH="0" baseline="0" noProof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8570986" y="4149104"/>
            <a:ext cx="432000" cy="216000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bd</a:t>
            </a:r>
            <a:endParaRPr kumimoji="0" lang="en-GB" sz="1400" b="0" i="0" u="none" strike="noStrike" kern="0" cap="none" spc="0" normalizeH="0" baseline="0" noProof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4160423" y="5805288"/>
            <a:ext cx="1313078" cy="288008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s</a:t>
            </a: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fined</a:t>
            </a: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60" name="Gruppieren 59"/>
          <p:cNvGrpSpPr/>
          <p:nvPr/>
        </p:nvGrpSpPr>
        <p:grpSpPr>
          <a:xfrm>
            <a:off x="8136830" y="1556793"/>
            <a:ext cx="1368152" cy="1080120"/>
            <a:chOff x="4860032" y="1268760"/>
            <a:chExt cx="1368152" cy="1080120"/>
          </a:xfrm>
        </p:grpSpPr>
        <p:sp>
          <p:nvSpPr>
            <p:cNvPr id="61" name="Rechteck 60"/>
            <p:cNvSpPr/>
            <p:nvPr/>
          </p:nvSpPr>
          <p:spPr>
            <a:xfrm>
              <a:off x="4860032" y="1268760"/>
              <a:ext cx="1368000" cy="1080120"/>
            </a:xfrm>
            <a:prstGeom prst="rect">
              <a:avLst/>
            </a:prstGeom>
            <a:solidFill>
              <a:srgbClr val="59B2DE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2" name="Rechteck 61"/>
            <p:cNvSpPr>
              <a:spLocks noChangeAspect="1"/>
            </p:cNvSpPr>
            <p:nvPr/>
          </p:nvSpPr>
          <p:spPr>
            <a:xfrm>
              <a:off x="5316285" y="1628800"/>
              <a:ext cx="911899" cy="720000"/>
            </a:xfrm>
            <a:prstGeom prst="rect">
              <a:avLst/>
            </a:prstGeom>
            <a:solidFill>
              <a:srgbClr val="59B2DE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3" name="Rechteck 62"/>
            <p:cNvSpPr>
              <a:spLocks noChangeAspect="1"/>
            </p:cNvSpPr>
            <p:nvPr/>
          </p:nvSpPr>
          <p:spPr>
            <a:xfrm>
              <a:off x="5772234" y="1988880"/>
              <a:ext cx="455950" cy="360000"/>
            </a:xfrm>
            <a:prstGeom prst="rect">
              <a:avLst/>
            </a:prstGeom>
            <a:solidFill>
              <a:srgbClr val="59B2DE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64" name="Rechteck 63"/>
          <p:cNvSpPr/>
          <p:nvPr/>
        </p:nvSpPr>
        <p:spPr>
          <a:xfrm>
            <a:off x="7636894" y="5805288"/>
            <a:ext cx="1294084" cy="288008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s defined</a:t>
            </a:r>
            <a:endParaRPr kumimoji="0" lang="en-GB" sz="1400" b="0" i="0" u="none" strike="noStrike" kern="0" cap="none" spc="0" normalizeH="0" baseline="0" noProof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8341129" y="2348880"/>
            <a:ext cx="1667909" cy="40098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Higher </a:t>
            </a:r>
            <a:r>
              <a:rPr kumimoji="0" lang="de-DE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resolved</a:t>
            </a:r>
            <a:r>
              <a:rPr kumimoji="0" lang="de-DE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de-DE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Grids</a:t>
            </a:r>
            <a:endParaRPr kumimoji="0" lang="en-GB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6" name="Textfeld 65"/>
          <p:cNvSpPr txBox="1"/>
          <p:nvPr/>
        </p:nvSpPr>
        <p:spPr>
          <a:xfrm>
            <a:off x="6984702" y="1844705"/>
            <a:ext cx="12982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and</a:t>
            </a:r>
            <a:endParaRPr lang="de-DE" b="1" dirty="0" smtClean="0">
              <a:solidFill>
                <a:prstClr val="black">
                  <a:lumMod val="65000"/>
                  <a:lumOff val="35000"/>
                </a:prstClr>
              </a:solidFill>
              <a:latin typeface="+mj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(</a:t>
            </a:r>
            <a:r>
              <a:rPr lang="de-DE" b="1" dirty="0" err="1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optionally</a:t>
            </a:r>
            <a:r>
              <a:rPr lang="de-DE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)</a:t>
            </a:r>
            <a:endParaRPr lang="en-GB" b="1" dirty="0">
              <a:solidFill>
                <a:prstClr val="black">
                  <a:lumMod val="65000"/>
                  <a:lumOff val="35000"/>
                </a:prstClr>
              </a:solidFill>
              <a:latin typeface="+mj-lt"/>
            </a:endParaRPr>
          </a:p>
        </p:txBody>
      </p:sp>
      <p:cxnSp>
        <p:nvCxnSpPr>
          <p:cNvPr id="67" name="Gerade Verbindung 66"/>
          <p:cNvCxnSpPr/>
          <p:nvPr/>
        </p:nvCxnSpPr>
        <p:spPr>
          <a:xfrm>
            <a:off x="2880246" y="2876939"/>
            <a:ext cx="7344816" cy="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68" name="Gerade Verbindung 67"/>
          <p:cNvCxnSpPr/>
          <p:nvPr/>
        </p:nvCxnSpPr>
        <p:spPr>
          <a:xfrm>
            <a:off x="2881213" y="4485118"/>
            <a:ext cx="7343849" cy="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69" name="Titel 1"/>
          <p:cNvSpPr txBox="1">
            <a:spLocks/>
          </p:cNvSpPr>
          <p:nvPr/>
        </p:nvSpPr>
        <p:spPr bwMode="auto">
          <a:xfrm>
            <a:off x="647998" y="950975"/>
            <a:ext cx="10775917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kern="0" dirty="0"/>
          </a:p>
        </p:txBody>
      </p:sp>
      <p:sp>
        <p:nvSpPr>
          <p:cNvPr id="70" name="Rectangle 2"/>
          <p:cNvSpPr txBox="1">
            <a:spLocks noChangeArrowheads="1"/>
          </p:cNvSpPr>
          <p:nvPr/>
        </p:nvSpPr>
        <p:spPr>
          <a:xfrm>
            <a:off x="647998" y="1016472"/>
            <a:ext cx="10801350" cy="468312"/>
          </a:xfrm>
          <a:prstGeom prst="rect">
            <a:avLst/>
          </a:prstGeom>
        </p:spPr>
        <p:txBody>
          <a:bodyPr/>
          <a:lstStyle>
            <a:lvl1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marL="0"/>
            <a:r>
              <a:rPr lang="en-US" altLang="en-US" sz="2000" dirty="0"/>
              <a:t>Flexible templates </a:t>
            </a:r>
            <a:r>
              <a:rPr lang="en-US" altLang="en-US" sz="2000" dirty="0" smtClean="0"/>
              <a:t>will be used to </a:t>
            </a:r>
            <a:r>
              <a:rPr lang="en-US" altLang="en-US" sz="2000" dirty="0"/>
              <a:t>keep burden for data providers low</a:t>
            </a:r>
          </a:p>
        </p:txBody>
      </p:sp>
      <p:sp>
        <p:nvSpPr>
          <p:cNvPr id="71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306030" y="6345238"/>
            <a:ext cx="918091" cy="323850"/>
          </a:xfrm>
        </p:spPr>
        <p:txBody>
          <a:bodyPr/>
          <a:lstStyle/>
          <a:p>
            <a:pPr>
              <a:defRPr/>
            </a:pPr>
            <a:fld id="{C3CCD513-A99A-4064-983A-6F4D1974C28F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2645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ark 1"/>
  <p:tag name="MIO_MST_COLOR_2" val="255,255,255,Light 1"/>
  <p:tag name="MIO_MST_COLOR_3" val="0,115,185,Dark 2"/>
  <p:tag name="MIO_MST_COLOR_4" val="206,211,215,Light 2"/>
  <p:tag name="MIO_MST_COLOR_5" val="145,175,220,Accent 1"/>
  <p:tag name="MIO_MST_COLOR_6" val="190,210,240,Accent 2"/>
  <p:tag name="MIO_MST_COLOR_7" val="195,220,195,Accent 3"/>
  <p:tag name="MIO_MST_COLOR_8" val="240,220,150,Accent 4"/>
  <p:tag name="MIO_MST_COLOR_9" val="235,195,175,Accent 5"/>
  <p:tag name="MIO_MST_COLOR_10" val="215,225,245,Accent 6"/>
  <p:tag name="MIO_MST_COLOR_11" val="130,160,205,"/>
  <p:tag name="MIO_MST_COLOR_12" val="222,149,41,"/>
  <p:tag name="MIO_PRESI_FIRST_SLIDENUMBER" val="1"/>
  <p:tag name="MIO_HDS" val="True"/>
  <p:tag name="MIO_EK" val="1147"/>
  <p:tag name="MIO_UPDATE" val="True"/>
  <p:tag name="MIO_VERSION" val="07.03.2014 16:26:23"/>
  <p:tag name="MIO_DBID" val="0697DB97-ABE8-48BD-A7C2-0968716355E1"/>
  <p:tag name="MIO_LASTDOWNLOADED" val="06.01.2016 16:47:10"/>
  <p:tag name="MIO_OBJECTNAME" val="TÜV Rheinland 16:9 EN"/>
  <p:tag name="MIO_LASTEDITORNAME" val="empower enterpri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354d727-de9a-4299-83d4-47c4cf673e75"/>
  <p:tag name="MIO_EK" val="1124"/>
  <p:tag name="MIO_UPDATE" val="True"/>
  <p:tag name="MIO_VERSION" val="03.04.2014 19:12:14"/>
  <p:tag name="MIO_DBID" val="0697DB97-ABE8-48BD-A7C2-0968716355E1"/>
  <p:tag name="MIO_LASTDOWNLOADED" val="25.02.2016 11:35:22"/>
  <p:tag name="MIO_OBJECTNAME" val="Table 1 (&lt;=10 Zeilen)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354d727-de9a-4299-83d4-47c4cf673e75"/>
  <p:tag name="MIO_EK" val="1124"/>
  <p:tag name="MIO_UPDATE" val="True"/>
  <p:tag name="MIO_VERSION" val="03.04.2014 19:12:14"/>
  <p:tag name="MIO_DBID" val="0697DB97-ABE8-48BD-A7C2-0968716355E1"/>
  <p:tag name="MIO_LASTDOWNLOADED" val="25.02.2016 11:35:22"/>
  <p:tag name="MIO_OBJECTNAME" val="Table 1 (&lt;=10 Zeilen)"/>
  <p:tag name="MIO_LASTEDITORNAME" val="empower enterprise"/>
</p:tagLst>
</file>

<file path=ppt/theme/theme1.xml><?xml version="1.0" encoding="utf-8"?>
<a:theme xmlns:a="http://schemas.openxmlformats.org/drawingml/2006/main" name="TÜV Rheinland 16:9 EN">
  <a:themeElements>
    <a:clrScheme name="TUEV FARBEN">
      <a:dk1>
        <a:srgbClr val="000000"/>
      </a:dk1>
      <a:lt1>
        <a:srgbClr val="FFFFFF"/>
      </a:lt1>
      <a:dk2>
        <a:srgbClr val="0073B9"/>
      </a:dk2>
      <a:lt2>
        <a:srgbClr val="CED3D7"/>
      </a:lt2>
      <a:accent1>
        <a:srgbClr val="91AFDC"/>
      </a:accent1>
      <a:accent2>
        <a:srgbClr val="BED2F0"/>
      </a:accent2>
      <a:accent3>
        <a:srgbClr val="C3DCC3"/>
      </a:accent3>
      <a:accent4>
        <a:srgbClr val="F0DC96"/>
      </a:accent4>
      <a:accent5>
        <a:srgbClr val="EBC3AF"/>
      </a:accent5>
      <a:accent6>
        <a:srgbClr val="D7E1F5"/>
      </a:accent6>
      <a:hlink>
        <a:srgbClr val="82A0CD"/>
      </a:hlink>
      <a:folHlink>
        <a:srgbClr val="DE952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3175" cap="flat" cmpd="sng" algn="ctr">
          <a:solidFill>
            <a:schemeClr val="tx1">
              <a:alpha val="80000"/>
            </a:schemeClr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E4EBF0">
                  <a:alpha val="80000"/>
                </a:srgbClr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D1CE80904DDB41BC4891F32613D4B0" ma:contentTypeVersion="1" ma:contentTypeDescription="Create a new document." ma:contentTypeScope="" ma:versionID="343dccb6ad7fd11f5aa4c971b7f33b5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3d8b0b90613641d2007733df16481c6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BB9D9EF-0130-41A9-B146-E7E9CECFB5A9}"/>
</file>

<file path=customXml/itemProps2.xml><?xml version="1.0" encoding="utf-8"?>
<ds:datastoreItem xmlns:ds="http://schemas.openxmlformats.org/officeDocument/2006/customXml" ds:itemID="{068314F1-C881-43DE-BBC5-B0663ED19A39}"/>
</file>

<file path=customXml/itemProps3.xml><?xml version="1.0" encoding="utf-8"?>
<ds:datastoreItem xmlns:ds="http://schemas.openxmlformats.org/officeDocument/2006/customXml" ds:itemID="{2A986CDF-48CD-4DF3-A602-9371A68A769E}"/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1550</Words>
  <Application>Microsoft Office PowerPoint</Application>
  <PresentationFormat>Custom</PresentationFormat>
  <Paragraphs>338</Paragraphs>
  <Slides>13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Times New Roman</vt:lpstr>
      <vt:lpstr>Verdana</vt:lpstr>
      <vt:lpstr>Wingdings</vt:lpstr>
      <vt:lpstr>TÜV Rheinland 16:9 EN</vt:lpstr>
      <vt:lpstr>Methodology of the European Commission’s project “Mapping study (phase II): Mapping of Broadband Services in Europe - SMART 2014/0016”</vt:lpstr>
      <vt:lpstr>What is the European Commission‘s project about?</vt:lpstr>
      <vt:lpstr>What is the scope of the project?</vt:lpstr>
      <vt:lpstr>What is the final result?</vt:lpstr>
      <vt:lpstr>What are the benefits?</vt:lpstr>
      <vt:lpstr>What is our approach?</vt:lpstr>
      <vt:lpstr>What are our data sets?</vt:lpstr>
      <vt:lpstr>Availability of data sets</vt:lpstr>
      <vt:lpstr>How will data be collected?</vt:lpstr>
      <vt:lpstr>What data will be collected?</vt:lpstr>
      <vt:lpstr>Open access is granted according to data providers‘ approval</vt:lpstr>
      <vt:lpstr>What is the time line?</vt:lpstr>
      <vt:lpstr>PowerPoint Presentation</vt:lpstr>
    </vt:vector>
  </TitlesOfParts>
  <Company>MI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oran, Rakan</dc:creator>
  <cp:lastModifiedBy>Aloran, Rakan</cp:lastModifiedBy>
  <cp:revision>806</cp:revision>
  <cp:lastPrinted>2016-05-04T12:59:52Z</cp:lastPrinted>
  <dcterms:created xsi:type="dcterms:W3CDTF">2014-03-07T15:26:24Z</dcterms:created>
  <dcterms:modified xsi:type="dcterms:W3CDTF">2016-05-04T14:52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D1CE80904DDB41BC4891F32613D4B0</vt:lpwstr>
  </property>
</Properties>
</file>